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77" r:id="rId2"/>
    <p:sldId id="270" r:id="rId3"/>
    <p:sldId id="269" r:id="rId4"/>
    <p:sldId id="271" r:id="rId5"/>
    <p:sldId id="258" r:id="rId6"/>
    <p:sldId id="276" r:id="rId7"/>
    <p:sldId id="263" r:id="rId8"/>
    <p:sldId id="272" r:id="rId9"/>
    <p:sldId id="257" r:id="rId10"/>
    <p:sldId id="273" r:id="rId11"/>
    <p:sldId id="260" r:id="rId12"/>
    <p:sldId id="274" r:id="rId13"/>
    <p:sldId id="275" r:id="rId14"/>
    <p:sldId id="265" r:id="rId15"/>
    <p:sldId id="278" r:id="rId16"/>
    <p:sldId id="279" r:id="rId17"/>
    <p:sldId id="264" r:id="rId18"/>
    <p:sldId id="261"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B2043C-40DF-4CDD-951E-B88DABB4E695}" v="2778" dt="2021-12-26T07:51:53.7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982" autoAdjust="0"/>
  </p:normalViewPr>
  <p:slideViewPr>
    <p:cSldViewPr snapToGrid="0">
      <p:cViewPr varScale="1">
        <p:scale>
          <a:sx n="62" d="100"/>
          <a:sy n="62" d="100"/>
        </p:scale>
        <p:origin x="82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1CB2043C-40DF-4CDD-951E-B88DABB4E695}"/>
    <pc:docChg chg="undo redo custSel addSld delSld modSld sldOrd">
      <pc:chgData name="Aniket Chhabra" userId="598e0514-bef3-4e71-b6aa-f2edd6441cff" providerId="ADAL" clId="{1CB2043C-40DF-4CDD-951E-B88DABB4E695}" dt="2021-12-26T07:51:53.715" v="3310"/>
      <pc:docMkLst>
        <pc:docMk/>
      </pc:docMkLst>
      <pc:sldChg chg="add del">
        <pc:chgData name="Aniket Chhabra" userId="598e0514-bef3-4e71-b6aa-f2edd6441cff" providerId="ADAL" clId="{1CB2043C-40DF-4CDD-951E-B88DABB4E695}" dt="2021-12-24T11:21:04.769" v="2071" actId="47"/>
        <pc:sldMkLst>
          <pc:docMk/>
          <pc:sldMk cId="108544692" sldId="256"/>
        </pc:sldMkLst>
      </pc:sldChg>
      <pc:sldChg chg="addSp delSp modSp mod">
        <pc:chgData name="Aniket Chhabra" userId="598e0514-bef3-4e71-b6aa-f2edd6441cff" providerId="ADAL" clId="{1CB2043C-40DF-4CDD-951E-B88DABB4E695}" dt="2021-12-26T07:51:53.715" v="3310"/>
        <pc:sldMkLst>
          <pc:docMk/>
          <pc:sldMk cId="1167689601" sldId="257"/>
        </pc:sldMkLst>
        <pc:spChg chg="del mod">
          <ac:chgData name="Aniket Chhabra" userId="598e0514-bef3-4e71-b6aa-f2edd6441cff" providerId="ADAL" clId="{1CB2043C-40DF-4CDD-951E-B88DABB4E695}" dt="2021-12-24T10:54:35.645" v="1260" actId="478"/>
          <ac:spMkLst>
            <pc:docMk/>
            <pc:sldMk cId="1167689601" sldId="257"/>
            <ac:spMk id="2" creationId="{A46F6089-AA81-4F37-A58A-5F52873752A1}"/>
          </ac:spMkLst>
        </pc:spChg>
        <pc:spChg chg="add del mod modVis">
          <ac:chgData name="Aniket Chhabra" userId="598e0514-bef3-4e71-b6aa-f2edd6441cff" providerId="ADAL" clId="{1CB2043C-40DF-4CDD-951E-B88DABB4E695}" dt="2021-12-24T10:54:15.420" v="1251"/>
          <ac:spMkLst>
            <pc:docMk/>
            <pc:sldMk cId="1167689601" sldId="257"/>
            <ac:spMk id="3" creationId="{17BCEBE9-0BFA-4E18-888C-4904CE713E26}"/>
          </ac:spMkLst>
        </pc:spChg>
        <pc:spChg chg="del mod">
          <ac:chgData name="Aniket Chhabra" userId="598e0514-bef3-4e71-b6aa-f2edd6441cff" providerId="ADAL" clId="{1CB2043C-40DF-4CDD-951E-B88DABB4E695}" dt="2021-12-24T10:57:45.616" v="1294"/>
          <ac:spMkLst>
            <pc:docMk/>
            <pc:sldMk cId="1167689601" sldId="257"/>
            <ac:spMk id="8" creationId="{B5A9E817-A3CB-4552-BF54-55E8218CF75F}"/>
          </ac:spMkLst>
        </pc:spChg>
        <pc:spChg chg="add mod">
          <ac:chgData name="Aniket Chhabra" userId="598e0514-bef3-4e71-b6aa-f2edd6441cff" providerId="ADAL" clId="{1CB2043C-40DF-4CDD-951E-B88DABB4E695}" dt="2021-12-24T10:58:16.091" v="1317" actId="14100"/>
          <ac:spMkLst>
            <pc:docMk/>
            <pc:sldMk cId="1167689601" sldId="257"/>
            <ac:spMk id="9" creationId="{3E93C5FD-867D-42BA-A255-837E6B77428B}"/>
          </ac:spMkLst>
        </pc:spChg>
        <pc:spChg chg="add mod">
          <ac:chgData name="Aniket Chhabra" userId="598e0514-bef3-4e71-b6aa-f2edd6441cff" providerId="ADAL" clId="{1CB2043C-40DF-4CDD-951E-B88DABB4E695}" dt="2021-12-24T10:58:37.967" v="1320" actId="14100"/>
          <ac:spMkLst>
            <pc:docMk/>
            <pc:sldMk cId="1167689601" sldId="257"/>
            <ac:spMk id="10" creationId="{CD575AD7-8913-4D9F-A53B-4748BAD79FB4}"/>
          </ac:spMkLst>
        </pc:spChg>
        <pc:graphicFrameChg chg="mod">
          <ac:chgData name="Aniket Chhabra" userId="598e0514-bef3-4e71-b6aa-f2edd6441cff" providerId="ADAL" clId="{1CB2043C-40DF-4CDD-951E-B88DABB4E695}" dt="2021-12-24T10:54:36.163" v="1262"/>
          <ac:graphicFrameMkLst>
            <pc:docMk/>
            <pc:sldMk cId="1167689601" sldId="257"/>
            <ac:graphicFrameMk id="4" creationId="{A2D6795D-6532-4037-96B7-F4EB73150FE1}"/>
          </ac:graphicFrameMkLst>
        </pc:graphicFrameChg>
        <pc:graphicFrameChg chg="add del mod modGraphic">
          <ac:chgData name="Aniket Chhabra" userId="598e0514-bef3-4e71-b6aa-f2edd6441cff" providerId="ADAL" clId="{1CB2043C-40DF-4CDD-951E-B88DABB4E695}" dt="2021-12-24T10:57:54.274" v="1295"/>
          <ac:graphicFrameMkLst>
            <pc:docMk/>
            <pc:sldMk cId="1167689601" sldId="257"/>
            <ac:graphicFrameMk id="19" creationId="{10C0E72D-2572-4A1A-B502-83D774EB2064}"/>
          </ac:graphicFrameMkLst>
        </pc:graphicFrameChg>
        <pc:picChg chg="mod">
          <ac:chgData name="Aniket Chhabra" userId="598e0514-bef3-4e71-b6aa-f2edd6441cff" providerId="ADAL" clId="{1CB2043C-40DF-4CDD-951E-B88DABB4E695}" dt="2021-12-24T10:55:44.796" v="1275" actId="1076"/>
          <ac:picMkLst>
            <pc:docMk/>
            <pc:sldMk cId="1167689601" sldId="257"/>
            <ac:picMk id="6" creationId="{FEAFE2BC-E4B3-4D04-8AA1-C61E1763FE10}"/>
          </ac:picMkLst>
        </pc:picChg>
        <pc:inkChg chg="add">
          <ac:chgData name="Aniket Chhabra" userId="598e0514-bef3-4e71-b6aa-f2edd6441cff" providerId="ADAL" clId="{1CB2043C-40DF-4CDD-951E-B88DABB4E695}" dt="2021-12-26T07:51:53.715" v="3310"/>
          <ac:inkMkLst>
            <pc:docMk/>
            <pc:sldMk cId="1167689601" sldId="257"/>
            <ac:inkMk id="2" creationId="{45E5C3BB-BAC9-49C4-9518-2AFF431F7BAB}"/>
          </ac:inkMkLst>
        </pc:inkChg>
      </pc:sldChg>
      <pc:sldChg chg="addSp delSp modSp mod ord">
        <pc:chgData name="Aniket Chhabra" userId="598e0514-bef3-4e71-b6aa-f2edd6441cff" providerId="ADAL" clId="{1CB2043C-40DF-4CDD-951E-B88DABB4E695}" dt="2021-12-24T11:00:58.102" v="1606" actId="1036"/>
        <pc:sldMkLst>
          <pc:docMk/>
          <pc:sldMk cId="3018282001" sldId="258"/>
        </pc:sldMkLst>
        <pc:spChg chg="del mod">
          <ac:chgData name="Aniket Chhabra" userId="598e0514-bef3-4e71-b6aa-f2edd6441cff" providerId="ADAL" clId="{1CB2043C-40DF-4CDD-951E-B88DABB4E695}" dt="2021-12-24T10:45:26.066" v="876" actId="478"/>
          <ac:spMkLst>
            <pc:docMk/>
            <pc:sldMk cId="3018282001" sldId="258"/>
            <ac:spMk id="2" creationId="{A46F6089-AA81-4F37-A58A-5F52873752A1}"/>
          </ac:spMkLst>
        </pc:spChg>
        <pc:spChg chg="add del mod">
          <ac:chgData name="Aniket Chhabra" userId="598e0514-bef3-4e71-b6aa-f2edd6441cff" providerId="ADAL" clId="{1CB2043C-40DF-4CDD-951E-B88DABB4E695}" dt="2021-12-24T10:45:30.168" v="880" actId="478"/>
          <ac:spMkLst>
            <pc:docMk/>
            <pc:sldMk cId="3018282001" sldId="258"/>
            <ac:spMk id="5" creationId="{BC74494C-FCE7-4D38-A0A6-A6FC926BA59F}"/>
          </ac:spMkLst>
        </pc:spChg>
        <pc:spChg chg="add mod ord">
          <ac:chgData name="Aniket Chhabra" userId="598e0514-bef3-4e71-b6aa-f2edd6441cff" providerId="ADAL" clId="{1CB2043C-40DF-4CDD-951E-B88DABB4E695}" dt="2021-12-24T10:46:57.837" v="912"/>
          <ac:spMkLst>
            <pc:docMk/>
            <pc:sldMk cId="3018282001" sldId="258"/>
            <ac:spMk id="6" creationId="{48B0385B-23B0-480E-A59B-955290ED2AB0}"/>
          </ac:spMkLst>
        </pc:spChg>
        <pc:spChg chg="add mod ord">
          <ac:chgData name="Aniket Chhabra" userId="598e0514-bef3-4e71-b6aa-f2edd6441cff" providerId="ADAL" clId="{1CB2043C-40DF-4CDD-951E-B88DABB4E695}" dt="2021-12-24T11:00:58.102" v="1606" actId="1036"/>
          <ac:spMkLst>
            <pc:docMk/>
            <pc:sldMk cId="3018282001" sldId="258"/>
            <ac:spMk id="7" creationId="{720BE876-F298-4188-9E09-AA2FC69C9204}"/>
          </ac:spMkLst>
        </pc:spChg>
        <pc:spChg chg="del mod">
          <ac:chgData name="Aniket Chhabra" userId="598e0514-bef3-4e71-b6aa-f2edd6441cff" providerId="ADAL" clId="{1CB2043C-40DF-4CDD-951E-B88DABB4E695}" dt="2021-12-24T10:46:01.558" v="903"/>
          <ac:spMkLst>
            <pc:docMk/>
            <pc:sldMk cId="3018282001" sldId="258"/>
            <ac:spMk id="8" creationId="{B5A9E817-A3CB-4552-BF54-55E8218CF75F}"/>
          </ac:spMkLst>
        </pc:spChg>
        <pc:graphicFrameChg chg="mod">
          <ac:chgData name="Aniket Chhabra" userId="598e0514-bef3-4e71-b6aa-f2edd6441cff" providerId="ADAL" clId="{1CB2043C-40DF-4CDD-951E-B88DABB4E695}" dt="2021-12-24T10:46:57.842" v="918"/>
          <ac:graphicFrameMkLst>
            <pc:docMk/>
            <pc:sldMk cId="3018282001" sldId="258"/>
            <ac:graphicFrameMk id="4" creationId="{A2D6795D-6532-4037-96B7-F4EB73150FE1}"/>
          </ac:graphicFrameMkLst>
        </pc:graphicFrameChg>
        <pc:picChg chg="mod ord">
          <ac:chgData name="Aniket Chhabra" userId="598e0514-bef3-4e71-b6aa-f2edd6441cff" providerId="ADAL" clId="{1CB2043C-40DF-4CDD-951E-B88DABB4E695}" dt="2021-12-24T10:47:59.436" v="926" actId="14100"/>
          <ac:picMkLst>
            <pc:docMk/>
            <pc:sldMk cId="3018282001" sldId="258"/>
            <ac:picMk id="10" creationId="{56AA3E3E-3B71-4F61-9B19-9C95368876F1}"/>
          </ac:picMkLst>
        </pc:picChg>
      </pc:sldChg>
      <pc:sldChg chg="modSp del mod ord">
        <pc:chgData name="Aniket Chhabra" userId="598e0514-bef3-4e71-b6aa-f2edd6441cff" providerId="ADAL" clId="{1CB2043C-40DF-4CDD-951E-B88DABB4E695}" dt="2021-12-24T10:40:29.088" v="408" actId="47"/>
        <pc:sldMkLst>
          <pc:docMk/>
          <pc:sldMk cId="4157779556" sldId="259"/>
        </pc:sldMkLst>
        <pc:spChg chg="mod">
          <ac:chgData name="Aniket Chhabra" userId="598e0514-bef3-4e71-b6aa-f2edd6441cff" providerId="ADAL" clId="{1CB2043C-40DF-4CDD-951E-B88DABB4E695}" dt="2021-12-24T10:37:50.604" v="67" actId="1076"/>
          <ac:spMkLst>
            <pc:docMk/>
            <pc:sldMk cId="4157779556" sldId="259"/>
            <ac:spMk id="7" creationId="{0CD6A882-0419-4134-AF43-FC367A7B1DDF}"/>
          </ac:spMkLst>
        </pc:spChg>
      </pc:sldChg>
      <pc:sldChg chg="addSp delSp modSp mod">
        <pc:chgData name="Aniket Chhabra" userId="598e0514-bef3-4e71-b6aa-f2edd6441cff" providerId="ADAL" clId="{1CB2043C-40DF-4CDD-951E-B88DABB4E695}" dt="2021-12-24T11:08:28.923" v="1773" actId="208"/>
        <pc:sldMkLst>
          <pc:docMk/>
          <pc:sldMk cId="3914303359" sldId="260"/>
        </pc:sldMkLst>
        <pc:spChg chg="del mod">
          <ac:chgData name="Aniket Chhabra" userId="598e0514-bef3-4e71-b6aa-f2edd6441cff" providerId="ADAL" clId="{1CB2043C-40DF-4CDD-951E-B88DABB4E695}" dt="2021-12-24T11:00:49.951" v="1598" actId="478"/>
          <ac:spMkLst>
            <pc:docMk/>
            <pc:sldMk cId="3914303359" sldId="260"/>
            <ac:spMk id="2" creationId="{E25B9834-4F2F-4CCF-9603-55CA427872F8}"/>
          </ac:spMkLst>
        </pc:spChg>
        <pc:spChg chg="add del mod modVis">
          <ac:chgData name="Aniket Chhabra" userId="598e0514-bef3-4e71-b6aa-f2edd6441cff" providerId="ADAL" clId="{1CB2043C-40DF-4CDD-951E-B88DABB4E695}" dt="2021-12-24T10:59:31.189" v="1588"/>
          <ac:spMkLst>
            <pc:docMk/>
            <pc:sldMk cId="3914303359" sldId="260"/>
            <ac:spMk id="3" creationId="{D2D6FDCD-84B4-425E-B28B-E4BFB711AD8B}"/>
          </ac:spMkLst>
        </pc:spChg>
        <pc:spChg chg="add del mod">
          <ac:chgData name="Aniket Chhabra" userId="598e0514-bef3-4e71-b6aa-f2edd6441cff" providerId="ADAL" clId="{1CB2043C-40DF-4CDD-951E-B88DABB4E695}" dt="2021-12-24T11:00:52.677" v="1602" actId="478"/>
          <ac:spMkLst>
            <pc:docMk/>
            <pc:sldMk cId="3914303359" sldId="260"/>
            <ac:spMk id="5" creationId="{A643D4C0-402A-4AD7-A725-94FDA550431B}"/>
          </ac:spMkLst>
        </pc:spChg>
        <pc:spChg chg="add mod">
          <ac:chgData name="Aniket Chhabra" userId="598e0514-bef3-4e71-b6aa-f2edd6441cff" providerId="ADAL" clId="{1CB2043C-40DF-4CDD-951E-B88DABB4E695}" dt="2021-12-24T11:04:41.670" v="1699" actId="14100"/>
          <ac:spMkLst>
            <pc:docMk/>
            <pc:sldMk cId="3914303359" sldId="260"/>
            <ac:spMk id="10" creationId="{084DBEDC-E246-446B-97DD-9C8425878A99}"/>
          </ac:spMkLst>
        </pc:spChg>
        <pc:spChg chg="add mod">
          <ac:chgData name="Aniket Chhabra" userId="598e0514-bef3-4e71-b6aa-f2edd6441cff" providerId="ADAL" clId="{1CB2043C-40DF-4CDD-951E-B88DABB4E695}" dt="2021-12-24T11:07:40.271" v="1766" actId="20577"/>
          <ac:spMkLst>
            <pc:docMk/>
            <pc:sldMk cId="3914303359" sldId="260"/>
            <ac:spMk id="14" creationId="{AEB98C33-93E7-402A-8FEA-890ABD453232}"/>
          </ac:spMkLst>
        </pc:spChg>
        <pc:spChg chg="add mod">
          <ac:chgData name="Aniket Chhabra" userId="598e0514-bef3-4e71-b6aa-f2edd6441cff" providerId="ADAL" clId="{1CB2043C-40DF-4CDD-951E-B88DABB4E695}" dt="2021-12-24T11:04:19.752" v="1697" actId="207"/>
          <ac:spMkLst>
            <pc:docMk/>
            <pc:sldMk cId="3914303359" sldId="260"/>
            <ac:spMk id="15" creationId="{9ECA0BF2-C081-4506-97FB-AF9AEA78A5C1}"/>
          </ac:spMkLst>
        </pc:spChg>
        <pc:spChg chg="mod">
          <ac:chgData name="Aniket Chhabra" userId="598e0514-bef3-4e71-b6aa-f2edd6441cff" providerId="ADAL" clId="{1CB2043C-40DF-4CDD-951E-B88DABB4E695}" dt="2021-12-24T11:03:03.113" v="1659" actId="207"/>
          <ac:spMkLst>
            <pc:docMk/>
            <pc:sldMk cId="3914303359" sldId="260"/>
            <ac:spMk id="19" creationId="{AB6A7422-6C0D-407E-BE5E-493237B053BC}"/>
          </ac:spMkLst>
        </pc:spChg>
        <pc:spChg chg="mod">
          <ac:chgData name="Aniket Chhabra" userId="598e0514-bef3-4e71-b6aa-f2edd6441cff" providerId="ADAL" clId="{1CB2043C-40DF-4CDD-951E-B88DABB4E695}" dt="2021-12-24T11:03:08.996" v="1660" actId="108"/>
          <ac:spMkLst>
            <pc:docMk/>
            <pc:sldMk cId="3914303359" sldId="260"/>
            <ac:spMk id="20" creationId="{1C0B5D69-8D98-445A-9A5A-E53CAA493D51}"/>
          </ac:spMkLst>
        </pc:spChg>
        <pc:spChg chg="mod">
          <ac:chgData name="Aniket Chhabra" userId="598e0514-bef3-4e71-b6aa-f2edd6441cff" providerId="ADAL" clId="{1CB2043C-40DF-4CDD-951E-B88DABB4E695}" dt="2021-12-24T11:06:15.185" v="1726" actId="14100"/>
          <ac:spMkLst>
            <pc:docMk/>
            <pc:sldMk cId="3914303359" sldId="260"/>
            <ac:spMk id="21" creationId="{3078E151-BC85-4E91-A702-A2691E85FC04}"/>
          </ac:spMkLst>
        </pc:spChg>
        <pc:spChg chg="mod">
          <ac:chgData name="Aniket Chhabra" userId="598e0514-bef3-4e71-b6aa-f2edd6441cff" providerId="ADAL" clId="{1CB2043C-40DF-4CDD-951E-B88DABB4E695}" dt="2021-12-24T11:06:08.371" v="1725" actId="14100"/>
          <ac:spMkLst>
            <pc:docMk/>
            <pc:sldMk cId="3914303359" sldId="260"/>
            <ac:spMk id="24" creationId="{33467410-0C04-426E-8DB5-A3E882A043DC}"/>
          </ac:spMkLst>
        </pc:spChg>
        <pc:spChg chg="del mod">
          <ac:chgData name="Aniket Chhabra" userId="598e0514-bef3-4e71-b6aa-f2edd6441cff" providerId="ADAL" clId="{1CB2043C-40DF-4CDD-951E-B88DABB4E695}" dt="2021-12-24T11:04:00.417" v="1694"/>
          <ac:spMkLst>
            <pc:docMk/>
            <pc:sldMk cId="3914303359" sldId="260"/>
            <ac:spMk id="27" creationId="{8B69CC46-8137-46E5-AAF0-94C2F2DBA8A2}"/>
          </ac:spMkLst>
        </pc:spChg>
        <pc:graphicFrameChg chg="mod">
          <ac:chgData name="Aniket Chhabra" userId="598e0514-bef3-4e71-b6aa-f2edd6441cff" providerId="ADAL" clId="{1CB2043C-40DF-4CDD-951E-B88DABB4E695}" dt="2021-12-24T11:00:52.898" v="1604"/>
          <ac:graphicFrameMkLst>
            <pc:docMk/>
            <pc:sldMk cId="3914303359" sldId="260"/>
            <ac:graphicFrameMk id="7" creationId="{3906A95F-E934-45D9-A9B5-C3AD6820B650}"/>
          </ac:graphicFrameMkLst>
        </pc:graphicFrameChg>
        <pc:cxnChg chg="mod">
          <ac:chgData name="Aniket Chhabra" userId="598e0514-bef3-4e71-b6aa-f2edd6441cff" providerId="ADAL" clId="{1CB2043C-40DF-4CDD-951E-B88DABB4E695}" dt="2021-12-24T11:08:28.923" v="1773" actId="208"/>
          <ac:cxnSpMkLst>
            <pc:docMk/>
            <pc:sldMk cId="3914303359" sldId="260"/>
            <ac:cxnSpMk id="17" creationId="{F8A03B54-F5FF-4EF3-ADCE-C0D08BD8BB8F}"/>
          </ac:cxnSpMkLst>
        </pc:cxnChg>
      </pc:sldChg>
      <pc:sldChg chg="delSp modSp del mod">
        <pc:chgData name="Aniket Chhabra" userId="598e0514-bef3-4e71-b6aa-f2edd6441cff" providerId="ADAL" clId="{1CB2043C-40DF-4CDD-951E-B88DABB4E695}" dt="2021-12-24T11:07:51.496" v="1768" actId="2696"/>
        <pc:sldMkLst>
          <pc:docMk/>
          <pc:sldMk cId="3952847755" sldId="262"/>
        </pc:sldMkLst>
        <pc:spChg chg="del mod">
          <ac:chgData name="Aniket Chhabra" userId="598e0514-bef3-4e71-b6aa-f2edd6441cff" providerId="ADAL" clId="{1CB2043C-40DF-4CDD-951E-B88DABB4E695}" dt="2021-12-24T11:05:32.551" v="1718" actId="21"/>
          <ac:spMkLst>
            <pc:docMk/>
            <pc:sldMk cId="3952847755" sldId="262"/>
            <ac:spMk id="9" creationId="{4768BCA0-1CFC-4A02-A1BF-2DE59EBEC586}"/>
          </ac:spMkLst>
        </pc:spChg>
        <pc:spChg chg="del">
          <ac:chgData name="Aniket Chhabra" userId="598e0514-bef3-4e71-b6aa-f2edd6441cff" providerId="ADAL" clId="{1CB2043C-40DF-4CDD-951E-B88DABB4E695}" dt="2021-12-24T11:05:06.827" v="1713" actId="21"/>
          <ac:spMkLst>
            <pc:docMk/>
            <pc:sldMk cId="3952847755" sldId="262"/>
            <ac:spMk id="10" creationId="{667824D2-F8B0-413B-ACD9-59BD6183E561}"/>
          </ac:spMkLst>
        </pc:spChg>
      </pc:sldChg>
      <pc:sldChg chg="ord">
        <pc:chgData name="Aniket Chhabra" userId="598e0514-bef3-4e71-b6aa-f2edd6441cff" providerId="ADAL" clId="{1CB2043C-40DF-4CDD-951E-B88DABB4E695}" dt="2021-12-24T11:18:47.405" v="2067"/>
        <pc:sldMkLst>
          <pc:docMk/>
          <pc:sldMk cId="3337781488" sldId="263"/>
        </pc:sldMkLst>
      </pc:sldChg>
      <pc:sldChg chg="modSp del mod">
        <pc:chgData name="Aniket Chhabra" userId="598e0514-bef3-4e71-b6aa-f2edd6441cff" providerId="ADAL" clId="{1CB2043C-40DF-4CDD-951E-B88DABB4E695}" dt="2021-12-24T11:17:54.320" v="1913" actId="2696"/>
        <pc:sldMkLst>
          <pc:docMk/>
          <pc:sldMk cId="3349275714" sldId="266"/>
        </pc:sldMkLst>
        <pc:spChg chg="mod">
          <ac:chgData name="Aniket Chhabra" userId="598e0514-bef3-4e71-b6aa-f2edd6441cff" providerId="ADAL" clId="{1CB2043C-40DF-4CDD-951E-B88DABB4E695}" dt="2021-12-24T11:11:20.925" v="1791" actId="14100"/>
          <ac:spMkLst>
            <pc:docMk/>
            <pc:sldMk cId="3349275714" sldId="266"/>
            <ac:spMk id="10" creationId="{0B4A6F5F-9EB0-45E4-BA45-2357732B5569}"/>
          </ac:spMkLst>
        </pc:spChg>
        <pc:spChg chg="mod">
          <ac:chgData name="Aniket Chhabra" userId="598e0514-bef3-4e71-b6aa-f2edd6441cff" providerId="ADAL" clId="{1CB2043C-40DF-4CDD-951E-B88DABB4E695}" dt="2021-12-24T11:12:30.025" v="1831" actId="14100"/>
          <ac:spMkLst>
            <pc:docMk/>
            <pc:sldMk cId="3349275714" sldId="266"/>
            <ac:spMk id="11" creationId="{FB8EABC4-D9E4-4773-B7C6-5ADE69CBB6EC}"/>
          </ac:spMkLst>
        </pc:spChg>
        <pc:spChg chg="mod">
          <ac:chgData name="Aniket Chhabra" userId="598e0514-bef3-4e71-b6aa-f2edd6441cff" providerId="ADAL" clId="{1CB2043C-40DF-4CDD-951E-B88DABB4E695}" dt="2021-12-24T11:17:12.900" v="1908" actId="14100"/>
          <ac:spMkLst>
            <pc:docMk/>
            <pc:sldMk cId="3349275714" sldId="266"/>
            <ac:spMk id="13" creationId="{50D8868D-C094-4801-9B6E-106313C6C44F}"/>
          </ac:spMkLst>
        </pc:spChg>
        <pc:spChg chg="mod">
          <ac:chgData name="Aniket Chhabra" userId="598e0514-bef3-4e71-b6aa-f2edd6441cff" providerId="ADAL" clId="{1CB2043C-40DF-4CDD-951E-B88DABB4E695}" dt="2021-12-24T11:11:43.434" v="1794" actId="1076"/>
          <ac:spMkLst>
            <pc:docMk/>
            <pc:sldMk cId="3349275714" sldId="266"/>
            <ac:spMk id="16" creationId="{28BE239B-C391-4B9C-8EE4-CCF173A89155}"/>
          </ac:spMkLst>
        </pc:spChg>
      </pc:sldChg>
      <pc:sldChg chg="addSp delSp modSp new add del mod">
        <pc:chgData name="Aniket Chhabra" userId="598e0514-bef3-4e71-b6aa-f2edd6441cff" providerId="ADAL" clId="{1CB2043C-40DF-4CDD-951E-B88DABB4E695}" dt="2021-12-24T10:40:09.640" v="364" actId="47"/>
        <pc:sldMkLst>
          <pc:docMk/>
          <pc:sldMk cId="3570396355" sldId="268"/>
        </pc:sldMkLst>
        <pc:spChg chg="del">
          <ac:chgData name="Aniket Chhabra" userId="598e0514-bef3-4e71-b6aa-f2edd6441cff" providerId="ADAL" clId="{1CB2043C-40DF-4CDD-951E-B88DABB4E695}" dt="2021-12-24T10:35:20.291" v="6" actId="478"/>
          <ac:spMkLst>
            <pc:docMk/>
            <pc:sldMk cId="3570396355" sldId="268"/>
            <ac:spMk id="2" creationId="{478C4956-B11E-476E-80D0-FCEE84873F23}"/>
          </ac:spMkLst>
        </pc:spChg>
        <pc:spChg chg="del">
          <ac:chgData name="Aniket Chhabra" userId="598e0514-bef3-4e71-b6aa-f2edd6441cff" providerId="ADAL" clId="{1CB2043C-40DF-4CDD-951E-B88DABB4E695}" dt="2021-12-24T10:35:22.847" v="22" actId="478"/>
          <ac:spMkLst>
            <pc:docMk/>
            <pc:sldMk cId="3570396355" sldId="268"/>
            <ac:spMk id="3" creationId="{671808E6-2A85-47B8-97C6-75E40E97AD0A}"/>
          </ac:spMkLst>
        </pc:spChg>
        <pc:spChg chg="add mod">
          <ac:chgData name="Aniket Chhabra" userId="598e0514-bef3-4e71-b6aa-f2edd6441cff" providerId="ADAL" clId="{1CB2043C-40DF-4CDD-951E-B88DABB4E695}" dt="2021-12-24T10:37:53.395" v="68" actId="1076"/>
          <ac:spMkLst>
            <pc:docMk/>
            <pc:sldMk cId="3570396355" sldId="268"/>
            <ac:spMk id="5" creationId="{58E20521-02C1-4F45-97D4-C470DDBCA1D6}"/>
          </ac:spMkLst>
        </pc:spChg>
        <pc:spChg chg="add mod">
          <ac:chgData name="Aniket Chhabra" userId="598e0514-bef3-4e71-b6aa-f2edd6441cff" providerId="ADAL" clId="{1CB2043C-40DF-4CDD-951E-B88DABB4E695}" dt="2021-12-24T10:37:31.305" v="62" actId="113"/>
          <ac:spMkLst>
            <pc:docMk/>
            <pc:sldMk cId="3570396355" sldId="268"/>
            <ac:spMk id="6" creationId="{AE4EA9E4-9AF4-49BF-8DD4-8C10C7AFC327}"/>
          </ac:spMkLst>
        </pc:spChg>
        <pc:spChg chg="add del mod">
          <ac:chgData name="Aniket Chhabra" userId="598e0514-bef3-4e71-b6aa-f2edd6441cff" providerId="ADAL" clId="{1CB2043C-40DF-4CDD-951E-B88DABB4E695}" dt="2021-12-24T10:37:47.341" v="65" actId="478"/>
          <ac:spMkLst>
            <pc:docMk/>
            <pc:sldMk cId="3570396355" sldId="268"/>
            <ac:spMk id="7" creationId="{D8696D3A-F377-41E8-8E85-5F35D2395426}"/>
          </ac:spMkLst>
        </pc:spChg>
        <pc:spChg chg="add del mod">
          <ac:chgData name="Aniket Chhabra" userId="598e0514-bef3-4e71-b6aa-f2edd6441cff" providerId="ADAL" clId="{1CB2043C-40DF-4CDD-951E-B88DABB4E695}" dt="2021-12-24T10:37:47.341" v="65" actId="478"/>
          <ac:spMkLst>
            <pc:docMk/>
            <pc:sldMk cId="3570396355" sldId="268"/>
            <ac:spMk id="8" creationId="{D017B98D-BBFB-4F46-9188-70BE9B8B6901}"/>
          </ac:spMkLst>
        </pc:spChg>
        <pc:spChg chg="add mod">
          <ac:chgData name="Aniket Chhabra" userId="598e0514-bef3-4e71-b6aa-f2edd6441cff" providerId="ADAL" clId="{1CB2043C-40DF-4CDD-951E-B88DABB4E695}" dt="2021-12-24T10:38:02.945" v="79" actId="20577"/>
          <ac:spMkLst>
            <pc:docMk/>
            <pc:sldMk cId="3570396355" sldId="268"/>
            <ac:spMk id="9" creationId="{2DBE34EB-8BE2-4118-A71B-A4DFB3F8FBE1}"/>
          </ac:spMkLst>
        </pc:spChg>
        <pc:spChg chg="add mod">
          <ac:chgData name="Aniket Chhabra" userId="598e0514-bef3-4e71-b6aa-f2edd6441cff" providerId="ADAL" clId="{1CB2043C-40DF-4CDD-951E-B88DABB4E695}" dt="2021-12-24T10:39:01.001" v="99" actId="6549"/>
          <ac:spMkLst>
            <pc:docMk/>
            <pc:sldMk cId="3570396355" sldId="268"/>
            <ac:spMk id="10" creationId="{377DC039-D58C-4275-B102-616FEA31430B}"/>
          </ac:spMkLst>
        </pc:spChg>
        <pc:spChg chg="add mod">
          <ac:chgData name="Aniket Chhabra" userId="598e0514-bef3-4e71-b6aa-f2edd6441cff" providerId="ADAL" clId="{1CB2043C-40DF-4CDD-951E-B88DABB4E695}" dt="2021-12-24T10:39:25.482" v="111" actId="1076"/>
          <ac:spMkLst>
            <pc:docMk/>
            <pc:sldMk cId="3570396355" sldId="268"/>
            <ac:spMk id="12" creationId="{C4382427-BAAF-4AAC-8523-69074AAFFF83}"/>
          </ac:spMkLst>
        </pc:spChg>
        <pc:graphicFrameChg chg="add mod ord modVis">
          <ac:chgData name="Aniket Chhabra" userId="598e0514-bef3-4e71-b6aa-f2edd6441cff" providerId="ADAL" clId="{1CB2043C-40DF-4CDD-951E-B88DABB4E695}" dt="2021-12-24T10:35:20.889" v="21"/>
          <ac:graphicFrameMkLst>
            <pc:docMk/>
            <pc:sldMk cId="3570396355" sldId="268"/>
            <ac:graphicFrameMk id="4" creationId="{14AB6FBE-C83C-4A24-8AF5-6D760E07ACDF}"/>
          </ac:graphicFrameMkLst>
        </pc:graphicFrameChg>
      </pc:sldChg>
      <pc:sldChg chg="addSp delSp modSp new add mod">
        <pc:chgData name="Aniket Chhabra" userId="598e0514-bef3-4e71-b6aa-f2edd6441cff" providerId="ADAL" clId="{1CB2043C-40DF-4CDD-951E-B88DABB4E695}" dt="2021-12-24T10:43:21.270" v="581" actId="20577"/>
        <pc:sldMkLst>
          <pc:docMk/>
          <pc:sldMk cId="1909648433" sldId="269"/>
        </pc:sldMkLst>
        <pc:spChg chg="del mod">
          <ac:chgData name="Aniket Chhabra" userId="598e0514-bef3-4e71-b6aa-f2edd6441cff" providerId="ADAL" clId="{1CB2043C-40DF-4CDD-951E-B88DABB4E695}" dt="2021-12-24T10:41:52.407" v="523" actId="478"/>
          <ac:spMkLst>
            <pc:docMk/>
            <pc:sldMk cId="1909648433" sldId="269"/>
            <ac:spMk id="2" creationId="{010D78F9-74C4-4396-A866-9FBC2F0E4687}"/>
          </ac:spMkLst>
        </pc:spChg>
        <pc:spChg chg="del">
          <ac:chgData name="Aniket Chhabra" userId="598e0514-bef3-4e71-b6aa-f2edd6441cff" providerId="ADAL" clId="{1CB2043C-40DF-4CDD-951E-B88DABB4E695}" dt="2021-12-24T10:40:01.486" v="362" actId="478"/>
          <ac:spMkLst>
            <pc:docMk/>
            <pc:sldMk cId="1909648433" sldId="269"/>
            <ac:spMk id="3" creationId="{36124DF1-DC02-458D-9E01-4F71F201EB35}"/>
          </ac:spMkLst>
        </pc:spChg>
        <pc:spChg chg="add del mod modVis">
          <ac:chgData name="Aniket Chhabra" userId="598e0514-bef3-4e71-b6aa-f2edd6441cff" providerId="ADAL" clId="{1CB2043C-40DF-4CDD-951E-B88DABB4E695}" dt="2021-12-24T10:39:45.009" v="164"/>
          <ac:spMkLst>
            <pc:docMk/>
            <pc:sldMk cId="1909648433" sldId="269"/>
            <ac:spMk id="4" creationId="{66FABFCD-50E6-4748-84E9-DAB6E160F21E}"/>
          </ac:spMkLst>
        </pc:spChg>
        <pc:spChg chg="add del mod modVis">
          <ac:chgData name="Aniket Chhabra" userId="598e0514-bef3-4e71-b6aa-f2edd6441cff" providerId="ADAL" clId="{1CB2043C-40DF-4CDD-951E-B88DABB4E695}" dt="2021-12-24T10:39:46.432" v="226"/>
          <ac:spMkLst>
            <pc:docMk/>
            <pc:sldMk cId="1909648433" sldId="269"/>
            <ac:spMk id="6" creationId="{4505F49C-DDCE-45B6-A384-A64439D2D16E}"/>
          </ac:spMkLst>
        </pc:spChg>
        <pc:spChg chg="add del mod modVis">
          <ac:chgData name="Aniket Chhabra" userId="598e0514-bef3-4e71-b6aa-f2edd6441cff" providerId="ADAL" clId="{1CB2043C-40DF-4CDD-951E-B88DABB4E695}" dt="2021-12-24T10:39:51.274" v="269"/>
          <ac:spMkLst>
            <pc:docMk/>
            <pc:sldMk cId="1909648433" sldId="269"/>
            <ac:spMk id="7" creationId="{6BA84962-32FF-4618-B006-2DF42B665F39}"/>
          </ac:spMkLst>
        </pc:spChg>
        <pc:spChg chg="add del mod modVis">
          <ac:chgData name="Aniket Chhabra" userId="598e0514-bef3-4e71-b6aa-f2edd6441cff" providerId="ADAL" clId="{1CB2043C-40DF-4CDD-951E-B88DABB4E695}" dt="2021-12-24T10:39:53.499" v="312"/>
          <ac:spMkLst>
            <pc:docMk/>
            <pc:sldMk cId="1909648433" sldId="269"/>
            <ac:spMk id="8" creationId="{8B5B1B3D-4E11-4257-A2E5-7C43D9F2FEB5}"/>
          </ac:spMkLst>
        </pc:spChg>
        <pc:spChg chg="add del mod modVis">
          <ac:chgData name="Aniket Chhabra" userId="598e0514-bef3-4e71-b6aa-f2edd6441cff" providerId="ADAL" clId="{1CB2043C-40DF-4CDD-951E-B88DABB4E695}" dt="2021-12-24T10:40:00.796" v="359"/>
          <ac:spMkLst>
            <pc:docMk/>
            <pc:sldMk cId="1909648433" sldId="269"/>
            <ac:spMk id="9" creationId="{EE63472B-3039-452D-B594-D2E3F0E628EE}"/>
          </ac:spMkLst>
        </pc:spChg>
        <pc:spChg chg="add mod ord">
          <ac:chgData name="Aniket Chhabra" userId="598e0514-bef3-4e71-b6aa-f2edd6441cff" providerId="ADAL" clId="{1CB2043C-40DF-4CDD-951E-B88DABB4E695}" dt="2021-12-24T10:42:34.037" v="573" actId="1076"/>
          <ac:spMkLst>
            <pc:docMk/>
            <pc:sldMk cId="1909648433" sldId="269"/>
            <ac:spMk id="10" creationId="{B5245949-B256-43FA-8B6F-AABF18BCD4E4}"/>
          </ac:spMkLst>
        </pc:spChg>
        <pc:spChg chg="add mod ord">
          <ac:chgData name="Aniket Chhabra" userId="598e0514-bef3-4e71-b6aa-f2edd6441cff" providerId="ADAL" clId="{1CB2043C-40DF-4CDD-951E-B88DABB4E695}" dt="2021-12-24T10:43:14.586" v="580" actId="14100"/>
          <ac:spMkLst>
            <pc:docMk/>
            <pc:sldMk cId="1909648433" sldId="269"/>
            <ac:spMk id="11" creationId="{9624EC1E-0853-4C25-9CD8-5D74E5EDF395}"/>
          </ac:spMkLst>
        </pc:spChg>
        <pc:spChg chg="add mod ord">
          <ac:chgData name="Aniket Chhabra" userId="598e0514-bef3-4e71-b6aa-f2edd6441cff" providerId="ADAL" clId="{1CB2043C-40DF-4CDD-951E-B88DABB4E695}" dt="2021-12-24T10:42:50.324" v="576" actId="14100"/>
          <ac:spMkLst>
            <pc:docMk/>
            <pc:sldMk cId="1909648433" sldId="269"/>
            <ac:spMk id="12" creationId="{CFC29170-3A52-4524-A8AA-ED88F15902F3}"/>
          </ac:spMkLst>
        </pc:spChg>
        <pc:spChg chg="add mod ord">
          <ac:chgData name="Aniket Chhabra" userId="598e0514-bef3-4e71-b6aa-f2edd6441cff" providerId="ADAL" clId="{1CB2043C-40DF-4CDD-951E-B88DABB4E695}" dt="2021-12-24T10:43:21.270" v="581" actId="20577"/>
          <ac:spMkLst>
            <pc:docMk/>
            <pc:sldMk cId="1909648433" sldId="269"/>
            <ac:spMk id="13" creationId="{58154565-9826-4701-9FD3-69E7D2934C2E}"/>
          </ac:spMkLst>
        </pc:spChg>
        <pc:spChg chg="add mod ord">
          <ac:chgData name="Aniket Chhabra" userId="598e0514-bef3-4e71-b6aa-f2edd6441cff" providerId="ADAL" clId="{1CB2043C-40DF-4CDD-951E-B88DABB4E695}" dt="2021-12-24T10:42:25.071" v="568"/>
          <ac:spMkLst>
            <pc:docMk/>
            <pc:sldMk cId="1909648433" sldId="269"/>
            <ac:spMk id="14" creationId="{8D7F12DF-463C-4808-91EC-7DB40C7D8B5E}"/>
          </ac:spMkLst>
        </pc:spChg>
        <pc:spChg chg="add del mod modVis">
          <ac:chgData name="Aniket Chhabra" userId="598e0514-bef3-4e71-b6aa-f2edd6441cff" providerId="ADAL" clId="{1CB2043C-40DF-4CDD-951E-B88DABB4E695}" dt="2021-12-24T10:40:19.808" v="405"/>
          <ac:spMkLst>
            <pc:docMk/>
            <pc:sldMk cId="1909648433" sldId="269"/>
            <ac:spMk id="15" creationId="{76F1DEC4-5F46-4C11-AAB7-37CDE20908D4}"/>
          </ac:spMkLst>
        </pc:spChg>
        <pc:graphicFrameChg chg="add mod ord modVis">
          <ac:chgData name="Aniket Chhabra" userId="598e0514-bef3-4e71-b6aa-f2edd6441cff" providerId="ADAL" clId="{1CB2043C-40DF-4CDD-951E-B88DABB4E695}" dt="2021-12-24T10:42:25.074" v="570"/>
          <ac:graphicFrameMkLst>
            <pc:docMk/>
            <pc:sldMk cId="1909648433" sldId="269"/>
            <ac:graphicFrameMk id="5" creationId="{387D1953-3CE3-46B1-BDDE-3E10CA444A0D}"/>
          </ac:graphicFrameMkLst>
        </pc:graphicFrameChg>
      </pc:sldChg>
      <pc:sldChg chg="addSp delSp modSp new add mod">
        <pc:chgData name="Aniket Chhabra" userId="598e0514-bef3-4e71-b6aa-f2edd6441cff" providerId="ADAL" clId="{1CB2043C-40DF-4CDD-951E-B88DABB4E695}" dt="2021-12-26T03:16:49.069" v="3309" actId="1036"/>
        <pc:sldMkLst>
          <pc:docMk/>
          <pc:sldMk cId="1051724104" sldId="270"/>
        </pc:sldMkLst>
        <pc:spChg chg="mod">
          <ac:chgData name="Aniket Chhabra" userId="598e0514-bef3-4e71-b6aa-f2edd6441cff" providerId="ADAL" clId="{1CB2043C-40DF-4CDD-951E-B88DABB4E695}" dt="2021-12-24T10:41:47.309" v="517" actId="948"/>
          <ac:spMkLst>
            <pc:docMk/>
            <pc:sldMk cId="1051724104" sldId="270"/>
            <ac:spMk id="2" creationId="{05D09E52-FD9C-4380-A16A-371C50ABA430}"/>
          </ac:spMkLst>
        </pc:spChg>
        <pc:spChg chg="del mod">
          <ac:chgData name="Aniket Chhabra" userId="598e0514-bef3-4e71-b6aa-f2edd6441cff" providerId="ADAL" clId="{1CB2043C-40DF-4CDD-951E-B88DABB4E695}" dt="2021-12-24T10:41:38.267" v="515" actId="478"/>
          <ac:spMkLst>
            <pc:docMk/>
            <pc:sldMk cId="1051724104" sldId="270"/>
            <ac:spMk id="3" creationId="{C4EA5206-41DF-4830-9F94-141351347EEB}"/>
          </ac:spMkLst>
        </pc:spChg>
        <pc:spChg chg="add del mod modVis">
          <ac:chgData name="Aniket Chhabra" userId="598e0514-bef3-4e71-b6aa-f2edd6441cff" providerId="ADAL" clId="{1CB2043C-40DF-4CDD-951E-B88DABB4E695}" dt="2021-12-24T10:41:34.202" v="455"/>
          <ac:spMkLst>
            <pc:docMk/>
            <pc:sldMk cId="1051724104" sldId="270"/>
            <ac:spMk id="4" creationId="{BBDF4C93-755B-48D0-9761-299E3EF8341F}"/>
          </ac:spMkLst>
        </pc:spChg>
        <pc:spChg chg="add del mod modVis">
          <ac:chgData name="Aniket Chhabra" userId="598e0514-bef3-4e71-b6aa-f2edd6441cff" providerId="ADAL" clId="{1CB2043C-40DF-4CDD-951E-B88DABB4E695}" dt="2021-12-24T10:41:35.943" v="511"/>
          <ac:spMkLst>
            <pc:docMk/>
            <pc:sldMk cId="1051724104" sldId="270"/>
            <ac:spMk id="6" creationId="{34E5AA66-C8C6-4FF7-8D65-0CA7C31E0262}"/>
          </ac:spMkLst>
        </pc:spChg>
        <pc:graphicFrameChg chg="add mod ord modVis">
          <ac:chgData name="Aniket Chhabra" userId="598e0514-bef3-4e71-b6aa-f2edd6441cff" providerId="ADAL" clId="{1CB2043C-40DF-4CDD-951E-B88DABB4E695}" dt="2021-12-24T10:41:47.315" v="519"/>
          <ac:graphicFrameMkLst>
            <pc:docMk/>
            <pc:sldMk cId="1051724104" sldId="270"/>
            <ac:graphicFrameMk id="5" creationId="{76937A40-9A60-44A0-99AB-E937F0E69C60}"/>
          </ac:graphicFrameMkLst>
        </pc:graphicFrameChg>
        <pc:picChg chg="mod">
          <ac:chgData name="Aniket Chhabra" userId="598e0514-bef3-4e71-b6aa-f2edd6441cff" providerId="ADAL" clId="{1CB2043C-40DF-4CDD-951E-B88DABB4E695}" dt="2021-12-26T03:16:49.069" v="3309" actId="1036"/>
          <ac:picMkLst>
            <pc:docMk/>
            <pc:sldMk cId="1051724104" sldId="270"/>
            <ac:picMk id="7" creationId="{B569CCCB-9013-409E-9643-B80466B251E9}"/>
          </ac:picMkLst>
        </pc:picChg>
      </pc:sldChg>
      <pc:sldChg chg="addSp delSp modSp add mod ord">
        <pc:chgData name="Aniket Chhabra" userId="598e0514-bef3-4e71-b6aa-f2edd6441cff" providerId="ADAL" clId="{1CB2043C-40DF-4CDD-951E-B88DABB4E695}" dt="2021-12-24T10:44:14.178" v="867"/>
        <pc:sldMkLst>
          <pc:docMk/>
          <pc:sldMk cId="297462536" sldId="271"/>
        </pc:sldMkLst>
        <pc:spChg chg="mod">
          <ac:chgData name="Aniket Chhabra" userId="598e0514-bef3-4e71-b6aa-f2edd6441cff" providerId="ADAL" clId="{1CB2043C-40DF-4CDD-951E-B88DABB4E695}" dt="2021-12-24T10:44:14.130" v="826" actId="948"/>
          <ac:spMkLst>
            <pc:docMk/>
            <pc:sldMk cId="297462536" sldId="271"/>
            <ac:spMk id="2" creationId="{05D09E52-FD9C-4380-A16A-371C50ABA430}"/>
          </ac:spMkLst>
        </pc:spChg>
        <pc:spChg chg="add del mod modVis">
          <ac:chgData name="Aniket Chhabra" userId="598e0514-bef3-4e71-b6aa-f2edd6441cff" providerId="ADAL" clId="{1CB2043C-40DF-4CDD-951E-B88DABB4E695}" dt="2021-12-24T10:44:05.052" v="626"/>
          <ac:spMkLst>
            <pc:docMk/>
            <pc:sldMk cId="297462536" sldId="271"/>
            <ac:spMk id="3" creationId="{4BE2FD3D-B17F-4EFA-A801-2FD400B7124A}"/>
          </ac:spMkLst>
        </pc:spChg>
        <pc:spChg chg="add del mod modVis">
          <ac:chgData name="Aniket Chhabra" userId="598e0514-bef3-4e71-b6aa-f2edd6441cff" providerId="ADAL" clId="{1CB2043C-40DF-4CDD-951E-B88DABB4E695}" dt="2021-12-24T10:44:08.092" v="680"/>
          <ac:spMkLst>
            <pc:docMk/>
            <pc:sldMk cId="297462536" sldId="271"/>
            <ac:spMk id="4" creationId="{784ABA9B-D71D-4537-BFD4-BC47F13EAE9A}"/>
          </ac:spMkLst>
        </pc:spChg>
        <pc:spChg chg="add del mod modVis">
          <ac:chgData name="Aniket Chhabra" userId="598e0514-bef3-4e71-b6aa-f2edd6441cff" providerId="ADAL" clId="{1CB2043C-40DF-4CDD-951E-B88DABB4E695}" dt="2021-12-24T10:44:12.276" v="735"/>
          <ac:spMkLst>
            <pc:docMk/>
            <pc:sldMk cId="297462536" sldId="271"/>
            <ac:spMk id="6" creationId="{773EB13B-4D3F-424E-8674-CA05AA5E99E4}"/>
          </ac:spMkLst>
        </pc:spChg>
        <pc:spChg chg="add del mod modVis">
          <ac:chgData name="Aniket Chhabra" userId="598e0514-bef3-4e71-b6aa-f2edd6441cff" providerId="ADAL" clId="{1CB2043C-40DF-4CDD-951E-B88DABB4E695}" dt="2021-12-24T10:44:12.847" v="778"/>
          <ac:spMkLst>
            <pc:docMk/>
            <pc:sldMk cId="297462536" sldId="271"/>
            <ac:spMk id="7" creationId="{EDC560C6-E05D-464F-B375-0077A064E8BC}"/>
          </ac:spMkLst>
        </pc:spChg>
        <pc:spChg chg="add del mod modVis">
          <ac:chgData name="Aniket Chhabra" userId="598e0514-bef3-4e71-b6aa-f2edd6441cff" providerId="ADAL" clId="{1CB2043C-40DF-4CDD-951E-B88DABB4E695}" dt="2021-12-24T10:44:13.661" v="822"/>
          <ac:spMkLst>
            <pc:docMk/>
            <pc:sldMk cId="297462536" sldId="271"/>
            <ac:spMk id="8" creationId="{C8F0DD90-0E98-4C2D-84D7-CBFA709393FC}"/>
          </ac:spMkLst>
        </pc:spChg>
        <pc:spChg chg="add del mod modVis">
          <ac:chgData name="Aniket Chhabra" userId="598e0514-bef3-4e71-b6aa-f2edd6441cff" providerId="ADAL" clId="{1CB2043C-40DF-4CDD-951E-B88DABB4E695}" dt="2021-12-24T10:44:14.173" v="865"/>
          <ac:spMkLst>
            <pc:docMk/>
            <pc:sldMk cId="297462536" sldId="271"/>
            <ac:spMk id="9" creationId="{004CB5DB-58FC-4BF6-B0EB-C5BFDD485CDF}"/>
          </ac:spMkLst>
        </pc:spChg>
        <pc:grpChg chg="mod">
          <ac:chgData name="Aniket Chhabra" userId="598e0514-bef3-4e71-b6aa-f2edd6441cff" providerId="ADAL" clId="{1CB2043C-40DF-4CDD-951E-B88DABB4E695}" dt="2021-12-24T10:43:46.115" v="583"/>
          <ac:grpSpMkLst>
            <pc:docMk/>
            <pc:sldMk cId="297462536" sldId="271"/>
            <ac:grpSpMk id="1" creationId="{00000000-0000-0000-0000-000000000000}"/>
          </ac:grpSpMkLst>
        </pc:grpChg>
        <pc:graphicFrameChg chg="mod">
          <ac:chgData name="Aniket Chhabra" userId="598e0514-bef3-4e71-b6aa-f2edd6441cff" providerId="ADAL" clId="{1CB2043C-40DF-4CDD-951E-B88DABB4E695}" dt="2021-12-24T10:44:14.178" v="867"/>
          <ac:graphicFrameMkLst>
            <pc:docMk/>
            <pc:sldMk cId="297462536" sldId="271"/>
            <ac:graphicFrameMk id="5" creationId="{76937A40-9A60-44A0-99AB-E937F0E69C60}"/>
          </ac:graphicFrameMkLst>
        </pc:graphicFrameChg>
      </pc:sldChg>
      <pc:sldChg chg="modSp add del">
        <pc:chgData name="Aniket Chhabra" userId="598e0514-bef3-4e71-b6aa-f2edd6441cff" providerId="ADAL" clId="{1CB2043C-40DF-4CDD-951E-B88DABB4E695}" dt="2021-12-24T10:48:10.467" v="927" actId="2696"/>
        <pc:sldMkLst>
          <pc:docMk/>
          <pc:sldMk cId="2037583427" sldId="272"/>
        </pc:sldMkLst>
        <pc:spChg chg="mod">
          <ac:chgData name="Aniket Chhabra" userId="598e0514-bef3-4e71-b6aa-f2edd6441cff" providerId="ADAL" clId="{1CB2043C-40DF-4CDD-951E-B88DABB4E695}" dt="2021-12-24T10:44:28.374" v="869"/>
          <ac:spMkLst>
            <pc:docMk/>
            <pc:sldMk cId="2037583427" sldId="272"/>
            <ac:spMk id="2" creationId="{A46F6089-AA81-4F37-A58A-5F52873752A1}"/>
          </ac:spMkLst>
        </pc:spChg>
        <pc:spChg chg="mod">
          <ac:chgData name="Aniket Chhabra" userId="598e0514-bef3-4e71-b6aa-f2edd6441cff" providerId="ADAL" clId="{1CB2043C-40DF-4CDD-951E-B88DABB4E695}" dt="2021-12-24T10:44:28.374" v="869"/>
          <ac:spMkLst>
            <pc:docMk/>
            <pc:sldMk cId="2037583427" sldId="272"/>
            <ac:spMk id="8" creationId="{B5A9E817-A3CB-4552-BF54-55E8218CF75F}"/>
          </ac:spMkLst>
        </pc:spChg>
        <pc:grpChg chg="mod">
          <ac:chgData name="Aniket Chhabra" userId="598e0514-bef3-4e71-b6aa-f2edd6441cff" providerId="ADAL" clId="{1CB2043C-40DF-4CDD-951E-B88DABB4E695}" dt="2021-12-24T10:44:28.374" v="869"/>
          <ac:grpSpMkLst>
            <pc:docMk/>
            <pc:sldMk cId="2037583427" sldId="272"/>
            <ac:grpSpMk id="1" creationId="{00000000-0000-0000-0000-000000000000}"/>
          </ac:grpSpMkLst>
        </pc:grpChg>
        <pc:graphicFrameChg chg="mod">
          <ac:chgData name="Aniket Chhabra" userId="598e0514-bef3-4e71-b6aa-f2edd6441cff" providerId="ADAL" clId="{1CB2043C-40DF-4CDD-951E-B88DABB4E695}" dt="2021-12-24T10:44:28.374" v="869"/>
          <ac:graphicFrameMkLst>
            <pc:docMk/>
            <pc:sldMk cId="2037583427" sldId="272"/>
            <ac:graphicFrameMk id="4" creationId="{A2D6795D-6532-4037-96B7-F4EB73150FE1}"/>
          </ac:graphicFrameMkLst>
        </pc:graphicFrameChg>
        <pc:picChg chg="mod">
          <ac:chgData name="Aniket Chhabra" userId="598e0514-bef3-4e71-b6aa-f2edd6441cff" providerId="ADAL" clId="{1CB2043C-40DF-4CDD-951E-B88DABB4E695}" dt="2021-12-24T10:44:28.374" v="869"/>
          <ac:picMkLst>
            <pc:docMk/>
            <pc:sldMk cId="2037583427" sldId="272"/>
            <ac:picMk id="10" creationId="{56AA3E3E-3B71-4F61-9B19-9C95368876F1}"/>
          </ac:picMkLst>
        </pc:picChg>
      </pc:sldChg>
      <pc:sldChg chg="addSp delSp modSp add mod ord">
        <pc:chgData name="Aniket Chhabra" userId="598e0514-bef3-4e71-b6aa-f2edd6441cff" providerId="ADAL" clId="{1CB2043C-40DF-4CDD-951E-B88DABB4E695}" dt="2021-12-24T10:54:08.732" v="1195"/>
        <pc:sldMkLst>
          <pc:docMk/>
          <pc:sldMk cId="2335934499" sldId="272"/>
        </pc:sldMkLst>
        <pc:spChg chg="mod">
          <ac:chgData name="Aniket Chhabra" userId="598e0514-bef3-4e71-b6aa-f2edd6441cff" providerId="ADAL" clId="{1CB2043C-40DF-4CDD-951E-B88DABB4E695}" dt="2021-12-24T10:54:08.682" v="1154" actId="948"/>
          <ac:spMkLst>
            <pc:docMk/>
            <pc:sldMk cId="2335934499" sldId="272"/>
            <ac:spMk id="2" creationId="{05D09E52-FD9C-4380-A16A-371C50ABA430}"/>
          </ac:spMkLst>
        </pc:spChg>
        <pc:spChg chg="add del mod modVis">
          <ac:chgData name="Aniket Chhabra" userId="598e0514-bef3-4e71-b6aa-f2edd6441cff" providerId="ADAL" clId="{1CB2043C-40DF-4CDD-951E-B88DABB4E695}" dt="2021-12-24T10:53:55.648" v="1004"/>
          <ac:spMkLst>
            <pc:docMk/>
            <pc:sldMk cId="2335934499" sldId="272"/>
            <ac:spMk id="3" creationId="{3E195ECA-78A7-4D8B-98DD-39E7E204A8AE}"/>
          </ac:spMkLst>
        </pc:spChg>
        <pc:spChg chg="add del mod modVis">
          <ac:chgData name="Aniket Chhabra" userId="598e0514-bef3-4e71-b6aa-f2edd6441cff" providerId="ADAL" clId="{1CB2043C-40DF-4CDD-951E-B88DABB4E695}" dt="2021-12-24T10:54:02.910" v="1062"/>
          <ac:spMkLst>
            <pc:docMk/>
            <pc:sldMk cId="2335934499" sldId="272"/>
            <ac:spMk id="4" creationId="{92863BE5-336E-4CDA-A61E-B45546F3B80E}"/>
          </ac:spMkLst>
        </pc:spChg>
        <pc:spChg chg="add del mod modVis">
          <ac:chgData name="Aniket Chhabra" userId="598e0514-bef3-4e71-b6aa-f2edd6441cff" providerId="ADAL" clId="{1CB2043C-40DF-4CDD-951E-B88DABB4E695}" dt="2021-12-24T10:54:05.853" v="1105"/>
          <ac:spMkLst>
            <pc:docMk/>
            <pc:sldMk cId="2335934499" sldId="272"/>
            <ac:spMk id="6" creationId="{C525999E-EA1D-42FE-983A-1BF63FE9684E}"/>
          </ac:spMkLst>
        </pc:spChg>
        <pc:spChg chg="add del mod modVis">
          <ac:chgData name="Aniket Chhabra" userId="598e0514-bef3-4e71-b6aa-f2edd6441cff" providerId="ADAL" clId="{1CB2043C-40DF-4CDD-951E-B88DABB4E695}" dt="2021-12-24T10:54:07.685" v="1149"/>
          <ac:spMkLst>
            <pc:docMk/>
            <pc:sldMk cId="2335934499" sldId="272"/>
            <ac:spMk id="7" creationId="{875476F5-F0A5-4985-8B74-3F24AC692E2F}"/>
          </ac:spMkLst>
        </pc:spChg>
        <pc:spChg chg="add del mod modVis">
          <ac:chgData name="Aniket Chhabra" userId="598e0514-bef3-4e71-b6aa-f2edd6441cff" providerId="ADAL" clId="{1CB2043C-40DF-4CDD-951E-B88DABB4E695}" dt="2021-12-24T10:54:08.729" v="1193"/>
          <ac:spMkLst>
            <pc:docMk/>
            <pc:sldMk cId="2335934499" sldId="272"/>
            <ac:spMk id="8" creationId="{77E277E5-BAEA-4238-8173-5DAE94800A6E}"/>
          </ac:spMkLst>
        </pc:spChg>
        <pc:grpChg chg="mod">
          <ac:chgData name="Aniket Chhabra" userId="598e0514-bef3-4e71-b6aa-f2edd6441cff" providerId="ADAL" clId="{1CB2043C-40DF-4CDD-951E-B88DABB4E695}" dt="2021-12-24T10:53:40.258" v="929"/>
          <ac:grpSpMkLst>
            <pc:docMk/>
            <pc:sldMk cId="2335934499" sldId="272"/>
            <ac:grpSpMk id="1" creationId="{00000000-0000-0000-0000-000000000000}"/>
          </ac:grpSpMkLst>
        </pc:grpChg>
        <pc:graphicFrameChg chg="mod">
          <ac:chgData name="Aniket Chhabra" userId="598e0514-bef3-4e71-b6aa-f2edd6441cff" providerId="ADAL" clId="{1CB2043C-40DF-4CDD-951E-B88DABB4E695}" dt="2021-12-24T10:54:08.732" v="1195"/>
          <ac:graphicFrameMkLst>
            <pc:docMk/>
            <pc:sldMk cId="2335934499" sldId="272"/>
            <ac:graphicFrameMk id="5" creationId="{76937A40-9A60-44A0-99AB-E937F0E69C60}"/>
          </ac:graphicFrameMkLst>
        </pc:graphicFrameChg>
      </pc:sldChg>
      <pc:sldChg chg="addSp delSp modSp add mod ord">
        <pc:chgData name="Aniket Chhabra" userId="598e0514-bef3-4e71-b6aa-f2edd6441cff" providerId="ADAL" clId="{1CB2043C-40DF-4CDD-951E-B88DABB4E695}" dt="2021-12-24T10:59:04.826" v="1546"/>
        <pc:sldMkLst>
          <pc:docMk/>
          <pc:sldMk cId="3658913675" sldId="273"/>
        </pc:sldMkLst>
        <pc:spChg chg="mod">
          <ac:chgData name="Aniket Chhabra" userId="598e0514-bef3-4e71-b6aa-f2edd6441cff" providerId="ADAL" clId="{1CB2043C-40DF-4CDD-951E-B88DABB4E695}" dt="2021-12-24T10:59:04.777" v="1505" actId="948"/>
          <ac:spMkLst>
            <pc:docMk/>
            <pc:sldMk cId="3658913675" sldId="273"/>
            <ac:spMk id="2" creationId="{05D09E52-FD9C-4380-A16A-371C50ABA430}"/>
          </ac:spMkLst>
        </pc:spChg>
        <pc:spChg chg="add del mod modVis">
          <ac:chgData name="Aniket Chhabra" userId="598e0514-bef3-4e71-b6aa-f2edd6441cff" providerId="ADAL" clId="{1CB2043C-40DF-4CDD-951E-B88DABB4E695}" dt="2021-12-24T10:58:58.301" v="1366"/>
          <ac:spMkLst>
            <pc:docMk/>
            <pc:sldMk cId="3658913675" sldId="273"/>
            <ac:spMk id="3" creationId="{DFE68270-45D4-43F7-B2CE-C6E6B1E85F13}"/>
          </ac:spMkLst>
        </pc:spChg>
        <pc:spChg chg="add del mod modVis">
          <ac:chgData name="Aniket Chhabra" userId="598e0514-bef3-4e71-b6aa-f2edd6441cff" providerId="ADAL" clId="{1CB2043C-40DF-4CDD-951E-B88DABB4E695}" dt="2021-12-24T10:58:58.935" v="1409"/>
          <ac:spMkLst>
            <pc:docMk/>
            <pc:sldMk cId="3658913675" sldId="273"/>
            <ac:spMk id="4" creationId="{3F03B10D-5BB5-4454-93BE-4832F909369A}"/>
          </ac:spMkLst>
        </pc:spChg>
        <pc:spChg chg="add del mod modVis">
          <ac:chgData name="Aniket Chhabra" userId="598e0514-bef3-4e71-b6aa-f2edd6441cff" providerId="ADAL" clId="{1CB2043C-40DF-4CDD-951E-B88DABB4E695}" dt="2021-12-24T10:58:59.789" v="1453"/>
          <ac:spMkLst>
            <pc:docMk/>
            <pc:sldMk cId="3658913675" sldId="273"/>
            <ac:spMk id="6" creationId="{98F5E9D0-2721-4435-92B0-BFC01849EAD0}"/>
          </ac:spMkLst>
        </pc:spChg>
        <pc:spChg chg="add del mod modVis">
          <ac:chgData name="Aniket Chhabra" userId="598e0514-bef3-4e71-b6aa-f2edd6441cff" providerId="ADAL" clId="{1CB2043C-40DF-4CDD-951E-B88DABB4E695}" dt="2021-12-24T10:59:00.563" v="1496"/>
          <ac:spMkLst>
            <pc:docMk/>
            <pc:sldMk cId="3658913675" sldId="273"/>
            <ac:spMk id="7" creationId="{77B12BBA-A5C9-48B3-AAB4-130E85574748}"/>
          </ac:spMkLst>
        </pc:spChg>
        <pc:spChg chg="add del mod modVis">
          <ac:chgData name="Aniket Chhabra" userId="598e0514-bef3-4e71-b6aa-f2edd6441cff" providerId="ADAL" clId="{1CB2043C-40DF-4CDD-951E-B88DABB4E695}" dt="2021-12-24T10:59:04.823" v="1544"/>
          <ac:spMkLst>
            <pc:docMk/>
            <pc:sldMk cId="3658913675" sldId="273"/>
            <ac:spMk id="8" creationId="{299DB46F-66D1-43F8-BB22-829E6CA47F56}"/>
          </ac:spMkLst>
        </pc:spChg>
        <pc:grpChg chg="mod">
          <ac:chgData name="Aniket Chhabra" userId="598e0514-bef3-4e71-b6aa-f2edd6441cff" providerId="ADAL" clId="{1CB2043C-40DF-4CDD-951E-B88DABB4E695}" dt="2021-12-24T10:58:50.807" v="1322"/>
          <ac:grpSpMkLst>
            <pc:docMk/>
            <pc:sldMk cId="3658913675" sldId="273"/>
            <ac:grpSpMk id="1" creationId="{00000000-0000-0000-0000-000000000000}"/>
          </ac:grpSpMkLst>
        </pc:grpChg>
        <pc:graphicFrameChg chg="mod">
          <ac:chgData name="Aniket Chhabra" userId="598e0514-bef3-4e71-b6aa-f2edd6441cff" providerId="ADAL" clId="{1CB2043C-40DF-4CDD-951E-B88DABB4E695}" dt="2021-12-24T10:59:04.826" v="1546"/>
          <ac:graphicFrameMkLst>
            <pc:docMk/>
            <pc:sldMk cId="3658913675" sldId="273"/>
            <ac:graphicFrameMk id="5" creationId="{76937A40-9A60-44A0-99AB-E937F0E69C60}"/>
          </ac:graphicFrameMkLst>
        </pc:graphicFrameChg>
      </pc:sldChg>
      <pc:sldChg chg="addSp delSp modSp add mod">
        <pc:chgData name="Aniket Chhabra" userId="598e0514-bef3-4e71-b6aa-f2edd6441cff" providerId="ADAL" clId="{1CB2043C-40DF-4CDD-951E-B88DABB4E695}" dt="2021-12-24T11:08:13.993" v="1771" actId="208"/>
        <pc:sldMkLst>
          <pc:docMk/>
          <pc:sldMk cId="1468762983" sldId="274"/>
        </pc:sldMkLst>
        <pc:spChg chg="mod">
          <ac:chgData name="Aniket Chhabra" userId="598e0514-bef3-4e71-b6aa-f2edd6441cff" providerId="ADAL" clId="{1CB2043C-40DF-4CDD-951E-B88DABB4E695}" dt="2021-12-24T11:07:33.762" v="1756" actId="20577"/>
          <ac:spMkLst>
            <pc:docMk/>
            <pc:sldMk cId="1468762983" sldId="274"/>
            <ac:spMk id="10" creationId="{084DBEDC-E246-446B-97DD-9C8425878A99}"/>
          </ac:spMkLst>
        </pc:spChg>
        <pc:spChg chg="add mod">
          <ac:chgData name="Aniket Chhabra" userId="598e0514-bef3-4e71-b6aa-f2edd6441cff" providerId="ADAL" clId="{1CB2043C-40DF-4CDD-951E-B88DABB4E695}" dt="2021-12-24T11:05:58.933" v="1724" actId="14100"/>
          <ac:spMkLst>
            <pc:docMk/>
            <pc:sldMk cId="1468762983" sldId="274"/>
            <ac:spMk id="11" creationId="{54D36F57-653D-450A-B8F9-1F19F0FA10AA}"/>
          </ac:spMkLst>
        </pc:spChg>
        <pc:spChg chg="add mod">
          <ac:chgData name="Aniket Chhabra" userId="598e0514-bef3-4e71-b6aa-f2edd6441cff" providerId="ADAL" clId="{1CB2043C-40DF-4CDD-951E-B88DABB4E695}" dt="2021-12-24T11:05:47.274" v="1723" actId="14100"/>
          <ac:spMkLst>
            <pc:docMk/>
            <pc:sldMk cId="1468762983" sldId="274"/>
            <ac:spMk id="12" creationId="{C9DF85D3-5C36-4012-967B-C6D5CC1A4BFE}"/>
          </ac:spMkLst>
        </pc:spChg>
        <pc:spChg chg="mod">
          <ac:chgData name="Aniket Chhabra" userId="598e0514-bef3-4e71-b6aa-f2edd6441cff" providerId="ADAL" clId="{1CB2043C-40DF-4CDD-951E-B88DABB4E695}" dt="2021-12-24T11:07:44.905" v="1767"/>
          <ac:spMkLst>
            <pc:docMk/>
            <pc:sldMk cId="1468762983" sldId="274"/>
            <ac:spMk id="14" creationId="{AEB98C33-93E7-402A-8FEA-890ABD453232}"/>
          </ac:spMkLst>
        </pc:spChg>
        <pc:spChg chg="mod">
          <ac:chgData name="Aniket Chhabra" userId="598e0514-bef3-4e71-b6aa-f2edd6441cff" providerId="ADAL" clId="{1CB2043C-40DF-4CDD-951E-B88DABB4E695}" dt="2021-12-24T11:07:04.327" v="1737" actId="20577"/>
          <ac:spMkLst>
            <pc:docMk/>
            <pc:sldMk cId="1468762983" sldId="274"/>
            <ac:spMk id="15" creationId="{9ECA0BF2-C081-4506-97FB-AF9AEA78A5C1}"/>
          </ac:spMkLst>
        </pc:spChg>
        <pc:spChg chg="mod">
          <ac:chgData name="Aniket Chhabra" userId="598e0514-bef3-4e71-b6aa-f2edd6441cff" providerId="ADAL" clId="{1CB2043C-40DF-4CDD-951E-B88DABB4E695}" dt="2021-12-24T11:04:45.658" v="1701"/>
          <ac:spMkLst>
            <pc:docMk/>
            <pc:sldMk cId="1468762983" sldId="274"/>
            <ac:spMk id="19" creationId="{AB6A7422-6C0D-407E-BE5E-493237B053BC}"/>
          </ac:spMkLst>
        </pc:spChg>
        <pc:spChg chg="mod">
          <ac:chgData name="Aniket Chhabra" userId="598e0514-bef3-4e71-b6aa-f2edd6441cff" providerId="ADAL" clId="{1CB2043C-40DF-4CDD-951E-B88DABB4E695}" dt="2021-12-24T11:04:45.658" v="1701"/>
          <ac:spMkLst>
            <pc:docMk/>
            <pc:sldMk cId="1468762983" sldId="274"/>
            <ac:spMk id="20" creationId="{1C0B5D69-8D98-445A-9A5A-E53CAA493D51}"/>
          </ac:spMkLst>
        </pc:spChg>
        <pc:spChg chg="del mod">
          <ac:chgData name="Aniket Chhabra" userId="598e0514-bef3-4e71-b6aa-f2edd6441cff" providerId="ADAL" clId="{1CB2043C-40DF-4CDD-951E-B88DABB4E695}" dt="2021-12-24T11:05:37.676" v="1720" actId="478"/>
          <ac:spMkLst>
            <pc:docMk/>
            <pc:sldMk cId="1468762983" sldId="274"/>
            <ac:spMk id="21" creationId="{3078E151-BC85-4E91-A702-A2691E85FC04}"/>
          </ac:spMkLst>
        </pc:spChg>
        <pc:spChg chg="del mod">
          <ac:chgData name="Aniket Chhabra" userId="598e0514-bef3-4e71-b6aa-f2edd6441cff" providerId="ADAL" clId="{1CB2043C-40DF-4CDD-951E-B88DABB4E695}" dt="2021-12-24T11:05:12.731" v="1714" actId="478"/>
          <ac:spMkLst>
            <pc:docMk/>
            <pc:sldMk cId="1468762983" sldId="274"/>
            <ac:spMk id="24" creationId="{33467410-0C04-426E-8DB5-A3E882A043DC}"/>
          </ac:spMkLst>
        </pc:spChg>
        <pc:grpChg chg="mod">
          <ac:chgData name="Aniket Chhabra" userId="598e0514-bef3-4e71-b6aa-f2edd6441cff" providerId="ADAL" clId="{1CB2043C-40DF-4CDD-951E-B88DABB4E695}" dt="2021-12-24T11:04:45.658" v="1701"/>
          <ac:grpSpMkLst>
            <pc:docMk/>
            <pc:sldMk cId="1468762983" sldId="274"/>
            <ac:grpSpMk id="1" creationId="{00000000-0000-0000-0000-000000000000}"/>
          </ac:grpSpMkLst>
        </pc:grpChg>
        <pc:graphicFrameChg chg="mod">
          <ac:chgData name="Aniket Chhabra" userId="598e0514-bef3-4e71-b6aa-f2edd6441cff" providerId="ADAL" clId="{1CB2043C-40DF-4CDD-951E-B88DABB4E695}" dt="2021-12-24T11:04:45.658" v="1701"/>
          <ac:graphicFrameMkLst>
            <pc:docMk/>
            <pc:sldMk cId="1468762983" sldId="274"/>
            <ac:graphicFrameMk id="7" creationId="{3906A95F-E934-45D9-A9B5-C3AD6820B650}"/>
          </ac:graphicFrameMkLst>
        </pc:graphicFrameChg>
        <pc:cxnChg chg="mod">
          <ac:chgData name="Aniket Chhabra" userId="598e0514-bef3-4e71-b6aa-f2edd6441cff" providerId="ADAL" clId="{1CB2043C-40DF-4CDD-951E-B88DABB4E695}" dt="2021-12-24T11:08:13.993" v="1771" actId="208"/>
          <ac:cxnSpMkLst>
            <pc:docMk/>
            <pc:sldMk cId="1468762983" sldId="274"/>
            <ac:cxnSpMk id="17" creationId="{F8A03B54-F5FF-4EF3-ADCE-C0D08BD8BB8F}"/>
          </ac:cxnSpMkLst>
        </pc:cxnChg>
      </pc:sldChg>
      <pc:sldChg chg="addSp delSp modSp add mod">
        <pc:chgData name="Aniket Chhabra" userId="598e0514-bef3-4e71-b6aa-f2edd6441cff" providerId="ADAL" clId="{1CB2043C-40DF-4CDD-951E-B88DABB4E695}" dt="2021-12-24T11:17:37.071" v="1912" actId="12"/>
        <pc:sldMkLst>
          <pc:docMk/>
          <pc:sldMk cId="3338697061" sldId="275"/>
        </pc:sldMkLst>
        <pc:spChg chg="mod">
          <ac:chgData name="Aniket Chhabra" userId="598e0514-bef3-4e71-b6aa-f2edd6441cff" providerId="ADAL" clId="{1CB2043C-40DF-4CDD-951E-B88DABB4E695}" dt="2021-12-24T11:08:35.959" v="1775"/>
          <ac:spMkLst>
            <pc:docMk/>
            <pc:sldMk cId="3338697061" sldId="275"/>
            <ac:spMk id="10" creationId="{084DBEDC-E246-446B-97DD-9C8425878A99}"/>
          </ac:spMkLst>
        </pc:spChg>
        <pc:spChg chg="del mod">
          <ac:chgData name="Aniket Chhabra" userId="598e0514-bef3-4e71-b6aa-f2edd6441cff" providerId="ADAL" clId="{1CB2043C-40DF-4CDD-951E-B88DABB4E695}" dt="2021-12-24T11:11:13.475" v="1787" actId="478"/>
          <ac:spMkLst>
            <pc:docMk/>
            <pc:sldMk cId="3338697061" sldId="275"/>
            <ac:spMk id="11" creationId="{54D36F57-653D-450A-B8F9-1F19F0FA10AA}"/>
          </ac:spMkLst>
        </pc:spChg>
        <pc:spChg chg="del mod">
          <ac:chgData name="Aniket Chhabra" userId="598e0514-bef3-4e71-b6aa-f2edd6441cff" providerId="ADAL" clId="{1CB2043C-40DF-4CDD-951E-B88DABB4E695}" dt="2021-12-24T11:12:38.435" v="1834" actId="478"/>
          <ac:spMkLst>
            <pc:docMk/>
            <pc:sldMk cId="3338697061" sldId="275"/>
            <ac:spMk id="12" creationId="{C9DF85D3-5C36-4012-967B-C6D5CC1A4BFE}"/>
          </ac:spMkLst>
        </pc:spChg>
        <pc:spChg chg="add del">
          <ac:chgData name="Aniket Chhabra" userId="598e0514-bef3-4e71-b6aa-f2edd6441cff" providerId="ADAL" clId="{1CB2043C-40DF-4CDD-951E-B88DABB4E695}" dt="2021-12-24T11:11:16.041" v="1790" actId="22"/>
          <ac:spMkLst>
            <pc:docMk/>
            <pc:sldMk cId="3338697061" sldId="275"/>
            <ac:spMk id="13" creationId="{C37CA1BB-E8B3-46C4-B297-371B91B37D56}"/>
          </ac:spMkLst>
        </pc:spChg>
        <pc:spChg chg="mod">
          <ac:chgData name="Aniket Chhabra" userId="598e0514-bef3-4e71-b6aa-f2edd6441cff" providerId="ADAL" clId="{1CB2043C-40DF-4CDD-951E-B88DABB4E695}" dt="2021-12-24T11:10:58.318" v="1786" actId="20577"/>
          <ac:spMkLst>
            <pc:docMk/>
            <pc:sldMk cId="3338697061" sldId="275"/>
            <ac:spMk id="14" creationId="{AEB98C33-93E7-402A-8FEA-890ABD453232}"/>
          </ac:spMkLst>
        </pc:spChg>
        <pc:spChg chg="del mod">
          <ac:chgData name="Aniket Chhabra" userId="598e0514-bef3-4e71-b6aa-f2edd6441cff" providerId="ADAL" clId="{1CB2043C-40DF-4CDD-951E-B88DABB4E695}" dt="2021-12-24T11:13:04.220" v="1839" actId="478"/>
          <ac:spMkLst>
            <pc:docMk/>
            <pc:sldMk cId="3338697061" sldId="275"/>
            <ac:spMk id="15" creationId="{9ECA0BF2-C081-4506-97FB-AF9AEA78A5C1}"/>
          </ac:spMkLst>
        </pc:spChg>
        <pc:spChg chg="add mod">
          <ac:chgData name="Aniket Chhabra" userId="598e0514-bef3-4e71-b6aa-f2edd6441cff" providerId="ADAL" clId="{1CB2043C-40DF-4CDD-951E-B88DABB4E695}" dt="2021-12-24T11:16:09.427" v="1899" actId="21"/>
          <ac:spMkLst>
            <pc:docMk/>
            <pc:sldMk cId="3338697061" sldId="275"/>
            <ac:spMk id="16" creationId="{8F27D6A6-A1A6-4992-A2E5-8A65CFB0CF44}"/>
          </ac:spMkLst>
        </pc:spChg>
        <pc:spChg chg="add mod">
          <ac:chgData name="Aniket Chhabra" userId="598e0514-bef3-4e71-b6aa-f2edd6441cff" providerId="ADAL" clId="{1CB2043C-40DF-4CDD-951E-B88DABB4E695}" dt="2021-12-24T11:16:32.477" v="1902" actId="1076"/>
          <ac:spMkLst>
            <pc:docMk/>
            <pc:sldMk cId="3338697061" sldId="275"/>
            <ac:spMk id="18" creationId="{60113C28-3021-4F89-9A7C-DA2EFEEED222}"/>
          </ac:spMkLst>
        </pc:spChg>
        <pc:spChg chg="mod">
          <ac:chgData name="Aniket Chhabra" userId="598e0514-bef3-4e71-b6aa-f2edd6441cff" providerId="ADAL" clId="{1CB2043C-40DF-4CDD-951E-B88DABB4E695}" dt="2021-12-24T11:08:35.959" v="1775"/>
          <ac:spMkLst>
            <pc:docMk/>
            <pc:sldMk cId="3338697061" sldId="275"/>
            <ac:spMk id="19" creationId="{AB6A7422-6C0D-407E-BE5E-493237B053BC}"/>
          </ac:spMkLst>
        </pc:spChg>
        <pc:spChg chg="mod">
          <ac:chgData name="Aniket Chhabra" userId="598e0514-bef3-4e71-b6aa-f2edd6441cff" providerId="ADAL" clId="{1CB2043C-40DF-4CDD-951E-B88DABB4E695}" dt="2021-12-24T11:08:35.959" v="1775"/>
          <ac:spMkLst>
            <pc:docMk/>
            <pc:sldMk cId="3338697061" sldId="275"/>
            <ac:spMk id="20" creationId="{1C0B5D69-8D98-445A-9A5A-E53CAA493D51}"/>
          </ac:spMkLst>
        </pc:spChg>
        <pc:spChg chg="add mod">
          <ac:chgData name="Aniket Chhabra" userId="598e0514-bef3-4e71-b6aa-f2edd6441cff" providerId="ADAL" clId="{1CB2043C-40DF-4CDD-951E-B88DABB4E695}" dt="2021-12-24T11:12:44.372" v="1836" actId="1076"/>
          <ac:spMkLst>
            <pc:docMk/>
            <pc:sldMk cId="3338697061" sldId="275"/>
            <ac:spMk id="21" creationId="{F74AE0AD-803A-4C08-A48B-F36814CBFE52}"/>
          </ac:spMkLst>
        </pc:spChg>
        <pc:spChg chg="add mod">
          <ac:chgData name="Aniket Chhabra" userId="598e0514-bef3-4e71-b6aa-f2edd6441cff" providerId="ADAL" clId="{1CB2043C-40DF-4CDD-951E-B88DABB4E695}" dt="2021-12-24T11:17:37.071" v="1912" actId="12"/>
          <ac:spMkLst>
            <pc:docMk/>
            <pc:sldMk cId="3338697061" sldId="275"/>
            <ac:spMk id="22" creationId="{B26838EC-E06A-488D-8EDB-E34A40786820}"/>
          </ac:spMkLst>
        </pc:spChg>
        <pc:spChg chg="add mod">
          <ac:chgData name="Aniket Chhabra" userId="598e0514-bef3-4e71-b6aa-f2edd6441cff" providerId="ADAL" clId="{1CB2043C-40DF-4CDD-951E-B88DABB4E695}" dt="2021-12-24T11:16:07.041" v="1898"/>
          <ac:spMkLst>
            <pc:docMk/>
            <pc:sldMk cId="3338697061" sldId="275"/>
            <ac:spMk id="23" creationId="{343EDB43-75AB-4248-9B31-6640CDB50F27}"/>
          </ac:spMkLst>
        </pc:spChg>
        <pc:spChg chg="add mod">
          <ac:chgData name="Aniket Chhabra" userId="598e0514-bef3-4e71-b6aa-f2edd6441cff" providerId="ADAL" clId="{1CB2043C-40DF-4CDD-951E-B88DABB4E695}" dt="2021-12-24T11:17:30.106" v="1911" actId="14100"/>
          <ac:spMkLst>
            <pc:docMk/>
            <pc:sldMk cId="3338697061" sldId="275"/>
            <ac:spMk id="24" creationId="{BA7F9A21-644D-49CE-9B50-76CCB32859D8}"/>
          </ac:spMkLst>
        </pc:spChg>
        <pc:grpChg chg="mod">
          <ac:chgData name="Aniket Chhabra" userId="598e0514-bef3-4e71-b6aa-f2edd6441cff" providerId="ADAL" clId="{1CB2043C-40DF-4CDD-951E-B88DABB4E695}" dt="2021-12-24T11:08:35.959" v="1775"/>
          <ac:grpSpMkLst>
            <pc:docMk/>
            <pc:sldMk cId="3338697061" sldId="275"/>
            <ac:grpSpMk id="1" creationId="{00000000-0000-0000-0000-000000000000}"/>
          </ac:grpSpMkLst>
        </pc:grpChg>
        <pc:graphicFrameChg chg="mod">
          <ac:chgData name="Aniket Chhabra" userId="598e0514-bef3-4e71-b6aa-f2edd6441cff" providerId="ADAL" clId="{1CB2043C-40DF-4CDD-951E-B88DABB4E695}" dt="2021-12-24T11:08:35.959" v="1775"/>
          <ac:graphicFrameMkLst>
            <pc:docMk/>
            <pc:sldMk cId="3338697061" sldId="275"/>
            <ac:graphicFrameMk id="7" creationId="{3906A95F-E934-45D9-A9B5-C3AD6820B650}"/>
          </ac:graphicFrameMkLst>
        </pc:graphicFrameChg>
        <pc:cxnChg chg="mod">
          <ac:chgData name="Aniket Chhabra" userId="598e0514-bef3-4e71-b6aa-f2edd6441cff" providerId="ADAL" clId="{1CB2043C-40DF-4CDD-951E-B88DABB4E695}" dt="2021-12-24T11:17:00.127" v="1905" actId="14100"/>
          <ac:cxnSpMkLst>
            <pc:docMk/>
            <pc:sldMk cId="3338697061" sldId="275"/>
            <ac:cxnSpMk id="17" creationId="{F8A03B54-F5FF-4EF3-ADCE-C0D08BD8BB8F}"/>
          </ac:cxnSpMkLst>
        </pc:cxnChg>
      </pc:sldChg>
      <pc:sldChg chg="new add del">
        <pc:chgData name="Aniket Chhabra" userId="598e0514-bef3-4e71-b6aa-f2edd6441cff" providerId="ADAL" clId="{1CB2043C-40DF-4CDD-951E-B88DABB4E695}" dt="2021-12-24T11:18:24.136" v="1916" actId="47"/>
        <pc:sldMkLst>
          <pc:docMk/>
          <pc:sldMk cId="287656840" sldId="276"/>
        </pc:sldMkLst>
      </pc:sldChg>
      <pc:sldChg chg="addSp delSp modSp add mod ord">
        <pc:chgData name="Aniket Chhabra" userId="598e0514-bef3-4e71-b6aa-f2edd6441cff" providerId="ADAL" clId="{1CB2043C-40DF-4CDD-951E-B88DABB4E695}" dt="2021-12-24T11:18:36.314" v="2065"/>
        <pc:sldMkLst>
          <pc:docMk/>
          <pc:sldMk cId="2977022735" sldId="276"/>
        </pc:sldMkLst>
        <pc:spChg chg="mod">
          <ac:chgData name="Aniket Chhabra" userId="598e0514-bef3-4e71-b6aa-f2edd6441cff" providerId="ADAL" clId="{1CB2043C-40DF-4CDD-951E-B88DABB4E695}" dt="2021-12-24T11:18:36.263" v="2024" actId="948"/>
          <ac:spMkLst>
            <pc:docMk/>
            <pc:sldMk cId="2977022735" sldId="276"/>
            <ac:spMk id="2" creationId="{05D09E52-FD9C-4380-A16A-371C50ABA430}"/>
          </ac:spMkLst>
        </pc:spChg>
        <pc:spChg chg="add del mod modVis">
          <ac:chgData name="Aniket Chhabra" userId="598e0514-bef3-4e71-b6aa-f2edd6441cff" providerId="ADAL" clId="{1CB2043C-40DF-4CDD-951E-B88DABB4E695}" dt="2021-12-24T11:18:31.908" v="1962"/>
          <ac:spMkLst>
            <pc:docMk/>
            <pc:sldMk cId="2977022735" sldId="276"/>
            <ac:spMk id="3" creationId="{C2F42C58-6946-4627-B1C6-E19750480344}"/>
          </ac:spMkLst>
        </pc:spChg>
        <pc:spChg chg="add del mod modVis">
          <ac:chgData name="Aniket Chhabra" userId="598e0514-bef3-4e71-b6aa-f2edd6441cff" providerId="ADAL" clId="{1CB2043C-40DF-4CDD-951E-B88DABB4E695}" dt="2021-12-24T11:18:34.821" v="2015"/>
          <ac:spMkLst>
            <pc:docMk/>
            <pc:sldMk cId="2977022735" sldId="276"/>
            <ac:spMk id="4" creationId="{33F38E70-9049-4E18-85B7-0AF8863350AF}"/>
          </ac:spMkLst>
        </pc:spChg>
        <pc:spChg chg="add del mod modVis">
          <ac:chgData name="Aniket Chhabra" userId="598e0514-bef3-4e71-b6aa-f2edd6441cff" providerId="ADAL" clId="{1CB2043C-40DF-4CDD-951E-B88DABB4E695}" dt="2021-12-24T11:18:36.310" v="2063"/>
          <ac:spMkLst>
            <pc:docMk/>
            <pc:sldMk cId="2977022735" sldId="276"/>
            <ac:spMk id="6" creationId="{DD6B72D7-AC3C-4552-A013-12C6FE0DFC19}"/>
          </ac:spMkLst>
        </pc:spChg>
        <pc:grpChg chg="mod">
          <ac:chgData name="Aniket Chhabra" userId="598e0514-bef3-4e71-b6aa-f2edd6441cff" providerId="ADAL" clId="{1CB2043C-40DF-4CDD-951E-B88DABB4E695}" dt="2021-12-24T11:18:27.238" v="1918"/>
          <ac:grpSpMkLst>
            <pc:docMk/>
            <pc:sldMk cId="2977022735" sldId="276"/>
            <ac:grpSpMk id="1" creationId="{00000000-0000-0000-0000-000000000000}"/>
          </ac:grpSpMkLst>
        </pc:grpChg>
        <pc:graphicFrameChg chg="mod">
          <ac:chgData name="Aniket Chhabra" userId="598e0514-bef3-4e71-b6aa-f2edd6441cff" providerId="ADAL" clId="{1CB2043C-40DF-4CDD-951E-B88DABB4E695}" dt="2021-12-24T11:18:36.314" v="2065"/>
          <ac:graphicFrameMkLst>
            <pc:docMk/>
            <pc:sldMk cId="2977022735" sldId="276"/>
            <ac:graphicFrameMk id="5" creationId="{76937A40-9A60-44A0-99AB-E937F0E69C60}"/>
          </ac:graphicFrameMkLst>
        </pc:graphicFrameChg>
      </pc:sldChg>
      <pc:sldChg chg="modSp add mod">
        <pc:chgData name="Aniket Chhabra" userId="598e0514-bef3-4e71-b6aa-f2edd6441cff" providerId="ADAL" clId="{1CB2043C-40DF-4CDD-951E-B88DABB4E695}" dt="2021-12-24T11:21:45.423" v="2109" actId="20577"/>
        <pc:sldMkLst>
          <pc:docMk/>
          <pc:sldMk cId="0" sldId="277"/>
        </pc:sldMkLst>
        <pc:spChg chg="mod">
          <ac:chgData name="Aniket Chhabra" userId="598e0514-bef3-4e71-b6aa-f2edd6441cff" providerId="ADAL" clId="{1CB2043C-40DF-4CDD-951E-B88DABB4E695}" dt="2021-12-24T11:21:03.591" v="2070"/>
          <ac:spMkLst>
            <pc:docMk/>
            <pc:sldMk cId="0" sldId="277"/>
            <ac:spMk id="56" creationId="{00000000-0000-0000-0000-000000000000}"/>
          </ac:spMkLst>
        </pc:spChg>
        <pc:spChg chg="mod">
          <ac:chgData name="Aniket Chhabra" userId="598e0514-bef3-4e71-b6aa-f2edd6441cff" providerId="ADAL" clId="{1CB2043C-40DF-4CDD-951E-B88DABB4E695}" dt="2021-12-24T11:21:45.423" v="2109" actId="20577"/>
          <ac:spMkLst>
            <pc:docMk/>
            <pc:sldMk cId="0" sldId="277"/>
            <ac:spMk id="66" creationId="{B3EABA53-6EE2-4E1D-B40F-D13F5966CA82}"/>
          </ac:spMkLst>
        </pc:spChg>
      </pc:sldChg>
      <pc:sldChg chg="addSp delSp modSp add mod">
        <pc:chgData name="Aniket Chhabra" userId="598e0514-bef3-4e71-b6aa-f2edd6441cff" providerId="ADAL" clId="{1CB2043C-40DF-4CDD-951E-B88DABB4E695}" dt="2021-12-26T03:02:33.082" v="3304"/>
        <pc:sldMkLst>
          <pc:docMk/>
          <pc:sldMk cId="1391008312" sldId="278"/>
        </pc:sldMkLst>
        <pc:spChg chg="mod">
          <ac:chgData name="Aniket Chhabra" userId="598e0514-bef3-4e71-b6aa-f2edd6441cff" providerId="ADAL" clId="{1CB2043C-40DF-4CDD-951E-B88DABB4E695}" dt="2021-12-26T03:02:33.031" v="3263" actId="948"/>
          <ac:spMkLst>
            <pc:docMk/>
            <pc:sldMk cId="1391008312" sldId="278"/>
            <ac:spMk id="2" creationId="{05D09E52-FD9C-4380-A16A-371C50ABA430}"/>
          </ac:spMkLst>
        </pc:spChg>
        <pc:spChg chg="add del mod modVis">
          <ac:chgData name="Aniket Chhabra" userId="598e0514-bef3-4e71-b6aa-f2edd6441cff" providerId="ADAL" clId="{1CB2043C-40DF-4CDD-951E-B88DABB4E695}" dt="2021-12-26T02:52:18.151" v="2156"/>
          <ac:spMkLst>
            <pc:docMk/>
            <pc:sldMk cId="1391008312" sldId="278"/>
            <ac:spMk id="3" creationId="{73C96521-11E2-4462-9509-AEB8EFA380AA}"/>
          </ac:spMkLst>
        </pc:spChg>
        <pc:spChg chg="add del mod modVis">
          <ac:chgData name="Aniket Chhabra" userId="598e0514-bef3-4e71-b6aa-f2edd6441cff" providerId="ADAL" clId="{1CB2043C-40DF-4CDD-951E-B88DABB4E695}" dt="2021-12-26T02:52:23.770" v="2232"/>
          <ac:spMkLst>
            <pc:docMk/>
            <pc:sldMk cId="1391008312" sldId="278"/>
            <ac:spMk id="7" creationId="{B5CD6AA3-3431-4266-B467-835DC4D64994}"/>
          </ac:spMkLst>
        </pc:spChg>
        <pc:spChg chg="add del mod modVis">
          <ac:chgData name="Aniket Chhabra" userId="598e0514-bef3-4e71-b6aa-f2edd6441cff" providerId="ADAL" clId="{1CB2043C-40DF-4CDD-951E-B88DABB4E695}" dt="2021-12-26T02:52:26.350" v="2285"/>
          <ac:spMkLst>
            <pc:docMk/>
            <pc:sldMk cId="1391008312" sldId="278"/>
            <ac:spMk id="8" creationId="{079DBB70-F567-4215-86E1-656B54842807}"/>
          </ac:spMkLst>
        </pc:spChg>
        <pc:spChg chg="add del mod modVis">
          <ac:chgData name="Aniket Chhabra" userId="598e0514-bef3-4e71-b6aa-f2edd6441cff" providerId="ADAL" clId="{1CB2043C-40DF-4CDD-951E-B88DABB4E695}" dt="2021-12-26T02:52:28.455" v="2336"/>
          <ac:spMkLst>
            <pc:docMk/>
            <pc:sldMk cId="1391008312" sldId="278"/>
            <ac:spMk id="9" creationId="{19637C81-1A73-4FB5-8B0D-15026486F343}"/>
          </ac:spMkLst>
        </pc:spChg>
        <pc:spChg chg="add del mod modVis">
          <ac:chgData name="Aniket Chhabra" userId="598e0514-bef3-4e71-b6aa-f2edd6441cff" providerId="ADAL" clId="{1CB2043C-40DF-4CDD-951E-B88DABB4E695}" dt="2021-12-26T02:52:29.135" v="2379"/>
          <ac:spMkLst>
            <pc:docMk/>
            <pc:sldMk cId="1391008312" sldId="278"/>
            <ac:spMk id="10" creationId="{3728101E-9722-4D72-AF2F-983D55BD7F2F}"/>
          </ac:spMkLst>
        </pc:spChg>
        <pc:spChg chg="add del mod modVis">
          <ac:chgData name="Aniket Chhabra" userId="598e0514-bef3-4e71-b6aa-f2edd6441cff" providerId="ADAL" clId="{1CB2043C-40DF-4CDD-951E-B88DABB4E695}" dt="2021-12-26T03:02:29.109" v="3121"/>
          <ac:spMkLst>
            <pc:docMk/>
            <pc:sldMk cId="1391008312" sldId="278"/>
            <ac:spMk id="11" creationId="{E698C519-AF6C-4002-BB95-F5F0713CD6C9}"/>
          </ac:spMkLst>
        </pc:spChg>
        <pc:spChg chg="add del mod modVis">
          <ac:chgData name="Aniket Chhabra" userId="598e0514-bef3-4e71-b6aa-f2edd6441cff" providerId="ADAL" clId="{1CB2043C-40DF-4CDD-951E-B88DABB4E695}" dt="2021-12-26T03:02:30.079" v="3168"/>
          <ac:spMkLst>
            <pc:docMk/>
            <pc:sldMk cId="1391008312" sldId="278"/>
            <ac:spMk id="12" creationId="{860E14E4-B8F2-4160-AABF-D73B83881C41}"/>
          </ac:spMkLst>
        </pc:spChg>
        <pc:spChg chg="add del mod modVis">
          <ac:chgData name="Aniket Chhabra" userId="598e0514-bef3-4e71-b6aa-f2edd6441cff" providerId="ADAL" clId="{1CB2043C-40DF-4CDD-951E-B88DABB4E695}" dt="2021-12-26T03:02:30.738" v="3211"/>
          <ac:spMkLst>
            <pc:docMk/>
            <pc:sldMk cId="1391008312" sldId="278"/>
            <ac:spMk id="13" creationId="{055F8158-59CF-4E96-A076-817CE9C2D78E}"/>
          </ac:spMkLst>
        </pc:spChg>
        <pc:spChg chg="add del mod modVis">
          <ac:chgData name="Aniket Chhabra" userId="598e0514-bef3-4e71-b6aa-f2edd6441cff" providerId="ADAL" clId="{1CB2043C-40DF-4CDD-951E-B88DABB4E695}" dt="2021-12-26T03:02:31.940" v="3257"/>
          <ac:spMkLst>
            <pc:docMk/>
            <pc:sldMk cId="1391008312" sldId="278"/>
            <ac:spMk id="14" creationId="{17540C2C-BE5A-4E12-A7EA-11E8B56F69CE}"/>
          </ac:spMkLst>
        </pc:spChg>
        <pc:spChg chg="add del mod modVis">
          <ac:chgData name="Aniket Chhabra" userId="598e0514-bef3-4e71-b6aa-f2edd6441cff" providerId="ADAL" clId="{1CB2043C-40DF-4CDD-951E-B88DABB4E695}" dt="2021-12-26T03:02:33.082" v="3302"/>
          <ac:spMkLst>
            <pc:docMk/>
            <pc:sldMk cId="1391008312" sldId="278"/>
            <ac:spMk id="15" creationId="{142FF2E2-120E-497C-AAA9-92AD677B9417}"/>
          </ac:spMkLst>
        </pc:spChg>
        <pc:graphicFrameChg chg="mod">
          <ac:chgData name="Aniket Chhabra" userId="598e0514-bef3-4e71-b6aa-f2edd6441cff" providerId="ADAL" clId="{1CB2043C-40DF-4CDD-951E-B88DABB4E695}" dt="2021-12-26T03:02:33.082" v="3304"/>
          <ac:graphicFrameMkLst>
            <pc:docMk/>
            <pc:sldMk cId="1391008312" sldId="278"/>
            <ac:graphicFrameMk id="5" creationId="{76937A40-9A60-44A0-99AB-E937F0E69C60}"/>
          </ac:graphicFrameMkLst>
        </pc:graphicFrameChg>
      </pc:sldChg>
      <pc:sldChg chg="delSp modSp add mod">
        <pc:chgData name="Aniket Chhabra" userId="598e0514-bef3-4e71-b6aa-f2edd6441cff" providerId="ADAL" clId="{1CB2043C-40DF-4CDD-951E-B88DABB4E695}" dt="2021-12-26T03:02:20.233" v="3072" actId="1076"/>
        <pc:sldMkLst>
          <pc:docMk/>
          <pc:sldMk cId="2021129291" sldId="279"/>
        </pc:sldMkLst>
        <pc:spChg chg="mod">
          <ac:chgData name="Aniket Chhabra" userId="598e0514-bef3-4e71-b6aa-f2edd6441cff" providerId="ADAL" clId="{1CB2043C-40DF-4CDD-951E-B88DABB4E695}" dt="2021-12-26T03:02:02.360" v="3071" actId="14100"/>
          <ac:spMkLst>
            <pc:docMk/>
            <pc:sldMk cId="2021129291" sldId="279"/>
            <ac:spMk id="10" creationId="{B5245949-B256-43FA-8B6F-AABF18BCD4E4}"/>
          </ac:spMkLst>
        </pc:spChg>
        <pc:spChg chg="mod">
          <ac:chgData name="Aniket Chhabra" userId="598e0514-bef3-4e71-b6aa-f2edd6441cff" providerId="ADAL" clId="{1CB2043C-40DF-4CDD-951E-B88DABB4E695}" dt="2021-12-26T03:02:20.233" v="3072" actId="1076"/>
          <ac:spMkLst>
            <pc:docMk/>
            <pc:sldMk cId="2021129291" sldId="279"/>
            <ac:spMk id="11" creationId="{9624EC1E-0853-4C25-9CD8-5D74E5EDF395}"/>
          </ac:spMkLst>
        </pc:spChg>
        <pc:spChg chg="del">
          <ac:chgData name="Aniket Chhabra" userId="598e0514-bef3-4e71-b6aa-f2edd6441cff" providerId="ADAL" clId="{1CB2043C-40DF-4CDD-951E-B88DABB4E695}" dt="2021-12-26T02:53:06.634" v="2391" actId="478"/>
          <ac:spMkLst>
            <pc:docMk/>
            <pc:sldMk cId="2021129291" sldId="279"/>
            <ac:spMk id="12" creationId="{CFC29170-3A52-4524-A8AA-ED88F15902F3}"/>
          </ac:spMkLst>
        </pc:spChg>
        <pc:spChg chg="del">
          <ac:chgData name="Aniket Chhabra" userId="598e0514-bef3-4e71-b6aa-f2edd6441cff" providerId="ADAL" clId="{1CB2043C-40DF-4CDD-951E-B88DABB4E695}" dt="2021-12-26T02:53:06.634" v="2391" actId="478"/>
          <ac:spMkLst>
            <pc:docMk/>
            <pc:sldMk cId="2021129291" sldId="279"/>
            <ac:spMk id="13" creationId="{58154565-9826-4701-9FD3-69E7D2934C2E}"/>
          </ac:spMkLst>
        </pc:spChg>
        <pc:spChg chg="del">
          <ac:chgData name="Aniket Chhabra" userId="598e0514-bef3-4e71-b6aa-f2edd6441cff" providerId="ADAL" clId="{1CB2043C-40DF-4CDD-951E-B88DABB4E695}" dt="2021-12-26T02:53:06.634" v="2391" actId="478"/>
          <ac:spMkLst>
            <pc:docMk/>
            <pc:sldMk cId="2021129291" sldId="279"/>
            <ac:spMk id="14" creationId="{8D7F12DF-463C-4808-91EC-7DB40C7D8B5E}"/>
          </ac:spMkLst>
        </pc:spChg>
      </pc:sldChg>
    </pc:docChg>
  </pc:docChgLst>
</pc:chgInfo>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2-26T07:17:09.415"/>
    </inkml:context>
    <inkml:brush xml:id="br0">
      <inkml:brushProperty name="width" value="0.05292" units="cm"/>
      <inkml:brushProperty name="height" value="0.05292" units="cm"/>
      <inkml:brushProperty name="color" value="#FF0000"/>
    </inkml:brush>
  </inkml:definitions>
  <inkml:trace contextRef="#ctx0" brushRef="#br0">23935 7189 305 0,'-9'-6'338'0,"2"0"-106"0,-2 0-3 0,2 1-50 16,0 0-22-16,-1-2-6 0,-1 1-29 0,4 1-23 15,-3-2-11-15,2 1 6 0,-1 1-5 16,-1-1-3-16,1 0-14 0,3 2-11 0,-2-2-10 16,-2 2-6-16,3-1 3 0,5 5-7 0,-9-7-6 15,9 7-7-15,-9-8 2 0,9 8 7 0,-10-5 0 16,4 1-25-16,6 4 26 0,-11-5-7 0,4 1 7 0,7 4 10 15,-17-4-6-15,8 1 3 0,-2 2 1 16,2-1-1-16,-3 1-8 0,1-1-5 0,-1 1 1 16,1 0 7-16,-3 0-8 0,1 1 6 0,-2 0-9 15,0-2-8-15,0 2 0 0,0 0-3 0,-2 2 6 16,0-2 3-16,0 1-5 0,0 0 1 0,-1 0-3 16,-1 1-2-16,4-1 7 0,-1 0-10 0,0 0 11 0,-1 0-2 15,0 1-8-15,1 0 2 0,-1 0 2 16,-2 1-2-16,4 2-1 0,-3-3 4 0,0 2-5 15,1-1 5-15,-2 2 1 0,1 0-6 0,-1-2 1 0,1 3-4 16,-2-1-2-16,-1 1 5 0,1 0-5 0,-1 0 3 16,0 0 0-16,-1 0-3 0,1 0 4 0,0 2-3 15,-1-4 9-15,3 4-6 0,-3 0-2 16,2-2-4-16,-1 2-2 0,-2-1 2 0,2 0-2 0,-2 2-2 16,1-1 0-16,-2 1 1 0,1-1-3 0,1 2 4 15,-1-2-2-15,0 2 0 0,1-1-1 0,-2 2 1 16,-2 0-1-16,1 0 0 0,0 2 0 0,5-3 1 15,-1 2 4-15,1-2 4 0,-3 5-2 0,1-1 4 16,-1 0-14-16,2 0 18 0,-1 0-15 0,0 2 11 16,0-2-12-16,1 2 15 0,0-2-12 0,-2 3-2 15,3-1 14-15,-1 0-14 0,0 2 10 0,0-1-11 16,1 1 14-16,-1 0-16 0,1 2 12 0,-1-1-12 16,2 1 10-16,0 0-12 0,1 2 10 0,0 1-11 15,2 0 13-15,-2 1 2 0,1 0-5 0,-2 5 2 16,0-2 1-16,1 3-9 0,0 0-8 0,1 0 18 15,1 1-14-15,0 1 11 0,0 0-5 0,-2 2 6 16,5-2-8-16,-3 1 0 0,0 2 0 0,3-1 9 16,-2 1-5-16,2 1-2 0,-1 1 9 0,0 0-10 15,0 0 10-15,1 2-14 0,1-1 12 0,0 2-12 16,0 0 13-16,1-1-13 0,2 2 18 0,0 0-16 16,-1-1 0-16,2 3 6 0,-1-2-3 0,3-1 0 15,-3 2 5-15,3 1-42 0,-1-3 48 0,1 1 1 16,1-2-8-16,-3 2 3 0,4-5-3 0,-1-1-7 15,3 1 2-15,-2 0 4 0,1 0 1 0,-1 0-3 16,3-1 0-16,-4-1 1 0,4-1-3 0,-1 1 0 0,1-1 1 16,1-3-4-16,0-2 9 0,0 1-6 0,1-2-1 15,2 6 4-15,1-2-42 0,-2 0 47 16,2 1-45-16,1-1 60 0,-1 0-61 0,3-1 57 16,-1 1-5-16,1 0-1 0,1 1-1 0,1-2-2 0,3 1-3 15,-1 2-3-15,1 2-7 0,3-2 2 0,-1 1 5 16,1-2 0-16,1 0-3 0,2-2-6 0,-2 1 10 15,2-1-6-15,1-1-1 0,1 0 5 0,-1 0-48 16,2-3 53-16,-1 2-50 0,-3-5 55 0,1-1-48 16,1 2 51-16,2-2-49 0,1 2 6 0,2 0 8 15,0 1 2-15,-1-2 4 0,3 0 1 0,-2 0 48 16,2 0-50-16,-1 0 53 0,3-2-66 0,-1 1 57 16,1-2-57-16,0 0 58 0,2 1-50 0,-1-2 48 15,1 0-42-15,3 0 42 0,1 0 11 0,-2 1-56 16,5-1 60-16,-2 2-55 0,3-2 65 0,-2 0-47 15,3 1 59-15,1 1-62 0,1-3 54 0,0 2-51 0,0 0 51 16,0 1-51-16,2-1 45 16,-2 0-46-16,3 1 45 0,0-2-51 0,9 5 42 0,-1-2-50 15,-6-3 45-15,8 1-48 0,-7-3 2 0,8 2 3 16,-9-2 0-16,4-3 2 0,6 4 3 0,-9-3-4 0,3 1-3 16,1-2 7-16,6 3 0 0,-8-3 0 15,2-1 3-15,-2 2 14 0,2-1 9 0,9 2 6 0,-7-3-6 16,-2 0 2-16,1-1-1 0,2-1-8 0,-3 0-3 15,1-3 16-15,1 2-6 0,-3-4 8 0,-1 1-7 16,1 0 13-16,-5-1-7 0,-5-3 17 0,-1 1-4 16,0-2-2-16,-2-2 4 0,0 0-12 0,-1-1-7 15,1-2 5-15,0-1-9 0,0 1 3 0,1-2-11 16,7-1 2-16,-2-1-10 0,1-1-1 0,-3-1-5 16,0-2-51-16,-1 0 68 0,0 0-52 0,-3-3 57 15,1-1 12-15,2-2-19 0,-4-2-7 0,0-4-1 16,-2-1-3-16,3-1-6 0,-4-4 15 0,8-5-20 15,-1-1 17-15,-2-2-21 0,1-1 16 0,-1-2-23 0,0-2 16 16,-1-1-7-16,-1 0-3 0,4-2-15 16,-5 1 2-16,3 0 6 0,-1-2-2 0,-1 2 10 15,-1-2 12-15,0 0-22 0,-1 0 19 0,-2 0-33 0,1 0 24 16,-1-1-54-16,0 2 26 0,-1-3-24 16,-2 1 40-16,1-2-36 0,-2 2 38 0,-1-1-54 15,-3 1 47-15,3 1-34 0,-7 5 48 0,2 2-35 16,-3-1 42-16,0 1 0 0,-3-2-1 0,0 0 1 15,0 0-5-15,0 2-1 0,0-2 6 0,-2 0 0 0,-1-2-6 16,-1 1 5-16,0 0-2 0,-3-1-1 0,2-1 5 16,-3 2-4-16,0 1-3 0,0-3 3 0,-3 3 4 15,1 1-2-15,-1 5 0 0,-3 0-1 16,2 1-1-16,-2 1-19 0,0-1 21 0,-2 1-19 0,0 5 24 16,0-2-14-16,0 1 17 0,-1 0-15 0,0-3 31 15,-2 0-21-15,0 0 19 0,-2 0-26 0,3-1 22 16,-5 2-28-16,3-1 32 0,-3 1-15 0,2-1 26 15,-2 1-7-15,1-1-9 0,1 2-3 16,-3-2 4-16,0 1 11 0,3 0 9 0,-1 0-10 0,-3 1-3 16,5 2-7-16,-2-2-28 0,1 1 32 0,-2 4-32 15,3 2 31-15,-3-2-28 0,2 2 31 0,-2 0-36 16,2 0 35-16,0 0-41 0,-4 1 41 0,3-1-28 16,-2 2 34-16,-2-5-34 0,0 3 24 15,-1-4-24-15,-1 2 28 0,1 1-36 0,-2-2 34 0,2 0-34 16,-2 1 34-16,2-1-1 0,-1 0-9 0,1-1 2 15,-2 2-3-15,0 0-1 0,3-2 0 0,-3 1-4 16,2 1 0-16,-3 0-8 0,2 0-28 0,-1 1 38 16,-1-1-26-16,-1 1 29 0,-3 0-29 15,4 0 17-15,-5 0-16 0,-3-2 2 0,2-2 1 0,-5 2 7 16,2 1-7-16,-1-3 5 0,2 3 2 0,-1-2 0 16,-2 1 1-16,1-1-2 0,-1 2-3 0,2 0-8 15,0 0 1-15,0 1 5 0,-2 0-1 0,3 1-10 16,0 1 23-16,-3-1 13 0,2 3-17 15,1 1 14-15,-4-3-14 0,1 4 15 0,1 0-19 0,-2 1 24 16,4 1-20-16,-10-2 14 0,5 3-15 0,1 1 15 16,-2 1-13-16,-2-2 16 0,3 3-16 0,-1-1 13 15,0 0-13-15,1 2 16 0,0-1-17 0,0 1-3 16,1 1 7-16,3 2 0 0,-3-4 1 16,-2 3 1-16,4-2 1 0,-2 2 2 0,3 1-4 15,-4-2-17-15,3 3 22 0,2 0-2 0,-2-1-6 0,0 0 6 16,0 2 1-16,2-1-2 0,-4 1 1 0,3 0 1 15,0 0-2-15,-2 0 3 0,3 1-4 0,-2-1-12 16,-1 2 13-16,1-1 3 0,2 1 3 0,-3-2-3 16,-1 2-1-16,3 0 4 0,-2-2-3 0,2 2 2 15,-2 1-5-15,0-1 0 0,-1 1 0 0,1 0-4 16,0-1 8-16,0 1 1 0,-1 1-4 0,1-2 2 16,-1 1 1-16,1 1-5 0,0 0 3 0,1-1-4 15,-3 1 4-15,6 0-7 0,0 0 6 0,-2 1-1 16,1-1 2-16,-3 0 3 0,4 1-6 15,-4-1 4-15,2 1-1 0,1-1 0 0,0 1 1 0,-1 1-1 16,0 0-8-16,3-1 10 0,-3 1-2 0,0 0 2 16,1 0-3-16,0 0 3 0,-1 0-1 0,0 0-2 15,2 1-1-15,-1 0 1 0,0 1 3 0,1-1 0 16,-1 0-2-16,0 0 2 0,0 0 1 0,-1-1-4 16,3 1 0-16,-2 0-3 0,0 1 1 0,2-2 4 15,-2 1-7-15,2 1 8 0,0 0-1 0,0-1-3 16,0 1 2-16,0 1-2 0,1-1 2 0,1 0-1 15,1 0-1-15,-1 2 0 0,1-2-2 0,-1 1 5 16,1 1-1-16,2-2 0 0,-2 2 4 0,2 0-3 16,0-1 0-16,0 1 0 0,0-1-1 0,2 1-1 15,2-1-2-15,-2 0 5 0,1 1-3 0,0 0 4 16,1 0-3-16,-1 0 3 0,2-1-3 0,-1 2-2 16,0-2 3-16,2 1 2 0,-1 1-8 0,2-1 6 15,1-1 1-15,-1 2 0 0,-1-1 12 0,1 1-16 16,1-1 13-16,0 1-16 0,0-1 16 0,0 1-23 15,0-1 26-15,0 2-17 0,-3-2 13 0,4 1-15 16,-1-1 16-16,1 2-19 0,-2-1 19 0,3 0-18 16,-3 1 13-16,3-1-18 0,-4 0 25 0,3 1-23 15,-2-1 22-15,1 1-16 0,-1-2 15 0,-1 3-16 16,3-2 12-16,-1 0-14 0,-2 1 15 0,2 0-20 16,0-1 22-16,0 0-16 0,-1 2 15 0,-1-2-17 15,3 1 17-15,-1-1-18 0,-2 1 26 0,2 0-30 16,0-1 9-16,-2 2 1 0,3-1 13 0,-4-2-14 15,2 2 14-15,-1-1-15 0,-1 1-1 0,0 0 3 16,-1-1-1-16,2 0-5 0,-1 1 10 0,0-2-2 16,-2 3 1-16,0-2 0 0,-1 2 0 0,0-1-5 15,0-1 4-15,-2 2 0 0,2 0 0 0,0-1-4 16,-1 1 7-16,0-1 2 0,0 1-10 0,0 2 9 16,0-3-2-16,1 2 1 0,-2-2-1 0,2 2-1 15,2 1 1-15,-3-2-6 0,2 1 8 0,-2 1-3 16,3 0 0-16,0 0 3 0,-3 2-4 0,3-2 5 15,-2 2-3-15,3 0-9 0,-2 0 12 0,0-1 1 16,-3 2-6-16,4 1 3 0,1-3 0 0,-2 2-1 16,2 0 2-16,0-1-3 0,-1 1 3 0,0 0-6 15,2-1 5-15,-1 2 2 0,0-2 15 0,1 0-39 16,0-1 40-16,-1 2-21 0,1-1 16 0,0 0-18 16,0 1 21-16,-1-3-26 0,2 4 22 0,-1-2-19 15,-1-2 18-15,2 3-23 0,0-3 24 0,-1 2-21 16,-1 0 14-16,1 1 3 0,1 0-3 0,0-1 0 15,-1 1-1-15,0 0 3 0,1 1-1 0,-1-1-7 16,-1 3-1-16,2-2 7 0,-2 0-5 0,2 1-16 16,-1 0 20-16,0 0-17 0,-1 0 19 0,1 1-23 0,1 1 9 15,-2-1-18-15,1 1 23 0,0-1-13 16,3 1 17-16,-3-1-17 0,0 2 22 0,3 0-19 16,-2 0 17-16,-1 1-10 0,0 0 15 0,0 0-19 15,0-1 17-15,2 1-17 0,-2 0 22 0,1-2-24 16,-1 2 24-16,0-1-28 0,0 1 24 0,-1-1-14 0,1 1 17 15,1-1-24-15,-1 1 23 0,-1-1-22 16,0 1 26-16,0-1-30 0,0 1 28 0,-1-1-2 16,1 1-3-16,-1-2-1 0,0 3-4 0,1-1 8 15,-3 0-8-15,3-1 5 0,-1 3-3 0,-1-3-4 0,1 3 1 16,-1-1 0-16,1 0 2 0,0 1 6 16,-1-1-14-16,1 0 5 0,-1 0 0 0,0 0 1 15,3 2 0-15,-2-2-1 0,-1 0 2 0,3 1-6 0,-1 0 6 16,1-1-3-16,0 1 3 0,1-1-1 0,-2 0-3 15,3 2 8-15,-1-2-8 0,-1 2-13 0,1-2 16 16,2 1 0-16,-2 0 0 0,3 0 0 0,-4 0 3 16,4 1-6-16,-1-1 1 0,-1 2-1 0,2-1 3 15,-2 1 0-15,1 0-35 0,1-1 45 0,0 3-36 16,0-1 40-16,-1 0-42 0,-1-2 43 0,2 1-40 16,1 1 45-16,-2-1-44 0,2 2 20 0,-2-3-16 15,2 2 38-15,0-1-4 0,0 3-1 0,0-3-2 16,-1 1-8-16,3 1 6 0,-3 2-4 0,2-3 2 15,-1 1-6-15,2 1-1 0,-1-1 6 0,-1-2-13 0,2 2 10 16,-1-1-1-16,-1 1-2 0,3-2-1 16,-2 0-2-16,0 2-32 0,0-2 37 15,1 1-30-15,0-5 41 0,1 2-39 0,0 1 40 16,-1-2-29-16,1 0 32 0,1 1-42 0,0 1 6 0,0-2 5 16,3 2 1-16,-2 3 4 0,0-2 17 0,2 1-19 15,1 3 40-15,-1-1-44 0,1-2 39 0,0 2-42 16,0 1 39-16,0-1-40 0,2 4 34 0,-2 0-32 0,4 0 35 15,-1 0-41-15,-3-1 36 0,5 0-31 0,-1 1 27 16,-2-2-39-16,3 2 34 0,0-1-39 0,0-1 43 16,1 1-43-16,-1-1 19 0,1 0-11 0,2 2 39 15,-2-1-48-15,4-2 45 0,-2 0-48 0,-1 1 17 16,3-1-3-16,-2-1 2 0,0 2 8 0,1-2 36 16,1 0-48-16,-1 0 48 0,-1 1-54 0,2-2 36 15,0-1-52-15,0 3 52 0,1-2-45 0,-1-2 39 16,0 1-46-16,2 2 55 0,-2-3-46 0,1 0 50 15,-1-1-52-15,1 0 56 0,-2-2-50 0,0 0 52 16,4 1-53-16,-6-3 46 0,4 0-51 0,0-1 53 16,0-1-44-16,-1 1 50 0,1 0-50 0,-1-1 51 15,3-1-50-15,-2 1 51 0,2 4-47 0,-2-5 47 16,3-2-51-16,-1 1 55 0,1 0-45 0,1-1 39 16,-3-1-53-16,3 1 57 0,-1-2-57 0,3 2 59 0,-2 0-55 15,0-1 4-15,0 0 7 0,-1 0-1 16,4 1 9-16,-3-2 3 0,7 3 5 0,-4 0 4 0,2 0-6 15,1-1-4-15,-2 1 5 0,2-1 3 0,0 0 0 16,-2 0-2-16,5-1-1 0,-4 1 0 0,3-1 4 16,-2 0 3-16,2 2 46 0,-2-3-51 0,3 0 43 15,-1 0-52-15,0 1 49 0,-3-4-51 0,2 4 51 16,1-3-39-16,-3 2-2 0,3 0 23 0,-2-1-3 16,-2 0 1-16,4 1 10 0,1 0-1 0,-2 0 15 15,1 1-5-15,-1-1 14 0,0 1 5 0,2 0-8 16,-2-2-7-16,2 0-3 0,-1 0 0 0,1 1 3 15,0 0-1-15,1 0 7 0,-1 0 8 0,2 0 3 16,0 0-13-16,0 1-7 0,2-2-11 0,0 0-4 16,1 0-5-16,0 0-3 0,-1 0 0 0,1 1-6 15,1 0 22-15,0-2-8 0,4 5 10 0,-4-4-9 16,4 2 4-16,0-1-4 0,-6 0 9 0,3-1-5 16,4 3 9-16,-5-3 0 0,5 1 0 0,-7-1 5 0,3 0-4 15,-1 0-1-15,6 1 11 0,-6-1 15 16,-2 0-12-16,1-1 0 0,2 0 2 0,-2 0-2 0,-1 1-3 15,0-3-1-15,0 3-1 0,-1-1 3 0,-1-1-38 16,1 0 32-16,-3-3-41 0,-1 1 32 0,0 0-41 16,0-2 37-16,-2 0-25 0,2-1 43 0,1 1-36 15,-1-1 33-15,0-2-47 0,0-1 40 0,-1 0-13 16,3-2 0-16,-5 1-4 0,4-3-8 0,3-2 0 16,1 0-8-16,-2-2-2 0,1-1-1 0,1-3-1 15,6 0-4-15,-3-3 4 0,-1 0-3 0,1-1 2 16,-2-1-5-16,-1-1 4 0,1 0-1 0,-1 0 2 15,0-2 0-15,-2-1-4 0,-1 0 3 0,-1-2-4 16,1 1 3-16,2-2 1 0,-3-3-7 0,2 1 3 16,0-2-40-16,1 0 40 0,5-8-31 0,0-2 41 15,-1-2-5-15,4 0-13 0,-2-2-8 0,-1-1-4 16,-1-1-2-16,1 2 1 0,1 1-1 0,-2 0 6 16,-2 1-1-16,0 2 8 0,-5 7 2 0,0 0-11 15,-2 0 1-15,0 0 4 0,0 3-1 0,-1-2 5 16,0 2 1-16,-2-1 5 0,2-1 1 0,-3 3-1 0,3-4 4 15,-1 0-4-15,-2-1 1 0,3-3-2 0,3-8 4 16,1-1-8-16,0 0 7 0,0-3-2 0,-1 1-1 16,2 0-2-16,-1-3-1 0,-1 5-8 0,-1-2-5 15,-4 7 5-15,0 2-7 0,-2 1 7 0,-1-1-4 16,-1 2 11-16,0 3-3 0,-1-2 12 0,-1 1-4 16,-2 1-7-16,1 1 12 0,-4-1-4 0,1 4 3 15,-1 0-4-15,1-5 4 0,-1 0-4 0,0-1 1 16,-1-1 1-16,1 1-4 0,-1-1-6 0,1 0 12 15,-1 0-3-15,0 0 6 0,-3 4-1 0,1 0 0 16,0 1-2-16,-2 0-8 0,2 0 15 16,-2 1-14-16,0 0 13 0,-1 1-6 0,2-1 4 0,-2 1-5 15,1 0 4-15,0 0-3 0,-2 2 0 0,3-3-4 16,-2 3-19-16,-1-3 27 0,2 2-17 16,-2 2 21-16,1 1-26 0,-2-3 25 0,1 2-20 0,-1 2 24 15,1-2-22-15,-1 2 21 0,0-1-25 0,0-1 12 16,-2 1-5-16,1 1 20 0,-2-1 0 0,-1 0-3 15,1 1-1-15,-1-2-2 0,2 3 1 0,-2-1-1 16,-2-1-15-16,1 2 5 0,1-1 8 0,-2-1-1 16,0 3 1-16,0-2-18 0,-1 0 20 0,-2 1-22 15,3-1 20-15,-4 0-18 0,1 0 19 0,-1-3-17 16,-3 0 15-16,1 0-13 0,-1 0 15 0,0 0-29 16,-2 0-4-16,-1-1-16 0,0 1 30 0,-1-1-20 15,-1-4 29-15,0 5-26 0,2 0 30 0,-2 0-20 16,0-1 27-16,0 1-23 0,-1 1 27 0,-2-6-25 15,2 7 28-15,-2-6-4 0,2 7-7 0,-2-4-20 16,2 3 18-16,-3-4-16 0,3 4 21 0,-6-3-22 16,5 2 21-16,-4-1-22 0,1-1 20 0,-2 0-23 15,1 1 19-15,-1 0-30 0,4 3 14 16,-2 1-23-16,2 1 28 0,-1 0-16 0,-1-1 32 0,1 1-29 16,0 1 31-16,2-1-25 0,-2 1 31 0,-1-1-40 15,2 1-3-15,-2-1 18 0,0 1 28 0,0-1-26 16,-2-1 31-16,1-1-34 0,-3-1 30 0,2 3-26 15,-3-3 21-15,2 5-32 0,-1-5 34 0,0 5-31 16,3 0 29-16,-3-1-34 0,-3-1 27 0,5 2-29 16,-6-1 5-16,5 2-16 0,-4-2 21 0,2 2 1 15,-3-2 3-15,-1 1 0 0,3 2 3 0,-2-1-5 16,-3-2 4-16,3 6-3 0,-2-6 3 0,-3 2-1 16,0-1 2-16,0 2-2 0,0 0 6 0,-2 0-1 15,-2 1-1-15,4-1-1 0,-4 1 3 0,2 0 6 16,-1 2 1-16,-1 0-3 0,3 1 4 0,2 2-4 15,1 0 4-15,-1 0-1 0,3 1-4 0,-1-1 3 16,-1 2-4-16,2 0 6 0,-1 1 2 0,1 0-6 16,2 1 6-16,4 1 1 0,-6-4-3 15,5 5-3-15,-1 1 3 0,1-3-3 0,1 2 4 0,1 0-6 16,-2 0 7-16,0 1-2 0,1-2 2 0,-2 3-5 16,1-1 4-16,0 0 0 0,1 0-1 0,-2 1 0 15,-1-2 1-15,0 3-8 0,2-2 8 0,-2 2-6 16,1-3 2-16,1 4 1 0,1-3 0 0,-2 1-2 15,0 2 0-15,0-3 3 0,-2 3-5 0,3 0 3 16,-1-1-8-16,-2 0 10 0,3 1-2 0,-4-1 7 16,4 0-8-16,-2 1-3 0,-1 1 3 0,1-1 0 15,-1-1 2-15,2 2 0 0,-3-1-8 0,1 1 7 16,1-1 5-16,-1 1-1 0,2 1-4 0,2-1 2 16,-1 1 0-16,0-2-21 0,-1 2 2 0,2 0 3 15,-1 0-3-15,0 0 11 0,0 0 0 0,0 0 3 16,0 2 0-16,-1-2 2 0,0 0 4 0,-2 1-3 15,-1 0 1-15,4 1-2 0,-2 0 4 0,-1 0-9 16,4 2 8-16,-3-2-1 0,1 2 2 0,1 1-2 16,-3 1 3-16,4-1-1 0,-2 3 1 0,0-1 0 15,0 2 0-15,0-1-4 0,-1 2 3 0,-1 1-15 16,1 2 1-16,-1 0 21 0,1 0-1 0,2 0-2 16,0 2-2-16,-2-1 0 0,4 1-3 0,-1 2 0 15,0 0 3-15,-1 1 2 0,3 0-1 0,-5-1-1 16,4 2 0-16,-2 1 2 0,-2 3-2 0,0 2 0 15,-1-3-5-15,-1 3 9 0,2 0-2 0,-2-2 7 16,0 2-12-16,0 2 16 0,-1-1-15 0,-1 2 15 16,1 0-17-16,-2 1-1 0,0-2-2 0,0 3 10 15,0 0 2-15,0-1-4 0,2 1 3 0,0 0 1 16,1 0-3-16,-1 0-3 0,1-1 8 0,2 1 1 16,-1-3 4-16,-1 2-6 0,4-2 2 0,-2 2 17 15,2-4-22-15,0 1 18 0,0 2-26 0,0-3 28 16,2-4-25-16,1 6 22 0,-1-6-23 0,3 1 20 15,-1 1-3-15,1 0 2 0,-1 0-8 0,0-2-33 16,1 1-25-16,-1-1-41 0,0-1-25 0,-2 1-45 16,-3 0-44-16,0 1-52 0,-3 0-44 0,4-3-111 15,0 0-98-15,-1-1-509 0,-2-1-62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729602-2F84-461D-B06F-3B56FBBFCA41}" type="datetimeFigureOut">
              <a:rPr lang="en-US" smtClean="0"/>
              <a:t>12/2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B118CB-5BC2-409A-8B7B-5BBD273AF684}" type="slidenum">
              <a:rPr lang="en-US" smtClean="0"/>
              <a:t>‹#›</a:t>
            </a:fld>
            <a:endParaRPr lang="en-US"/>
          </a:p>
        </p:txBody>
      </p:sp>
    </p:spTree>
    <p:extLst>
      <p:ext uri="{BB962C8B-B14F-4D97-AF65-F5344CB8AC3E}">
        <p14:creationId xmlns:p14="http://schemas.microsoft.com/office/powerpoint/2010/main" val="172277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118CB-5BC2-409A-8B7B-5BBD273AF684}" type="slidenum">
              <a:rPr lang="en-US" smtClean="0"/>
              <a:t>9</a:t>
            </a:fld>
            <a:endParaRPr lang="en-US"/>
          </a:p>
        </p:txBody>
      </p:sp>
    </p:spTree>
    <p:extLst>
      <p:ext uri="{BB962C8B-B14F-4D97-AF65-F5344CB8AC3E}">
        <p14:creationId xmlns:p14="http://schemas.microsoft.com/office/powerpoint/2010/main" val="249284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atawdash.blogspot.com/search?q=Machine+Learning</a:t>
            </a:r>
          </a:p>
          <a:p>
            <a:r>
              <a:rPr lang="en-US" dirty="0"/>
              <a:t>https://datawdash.blogspot.com/search?q=Statistics</a:t>
            </a:r>
          </a:p>
        </p:txBody>
      </p:sp>
      <p:sp>
        <p:nvSpPr>
          <p:cNvPr id="4" name="Slide Number Placeholder 3"/>
          <p:cNvSpPr>
            <a:spLocks noGrp="1"/>
          </p:cNvSpPr>
          <p:nvPr>
            <p:ph type="sldNum" sz="quarter" idx="5"/>
          </p:nvPr>
        </p:nvSpPr>
        <p:spPr/>
        <p:txBody>
          <a:bodyPr/>
          <a:lstStyle/>
          <a:p>
            <a:fld id="{25B118CB-5BC2-409A-8B7B-5BBD273AF684}" type="slidenum">
              <a:rPr lang="en-US" smtClean="0"/>
              <a:t>11</a:t>
            </a:fld>
            <a:endParaRPr lang="en-US"/>
          </a:p>
        </p:txBody>
      </p:sp>
    </p:spTree>
    <p:extLst>
      <p:ext uri="{BB962C8B-B14F-4D97-AF65-F5344CB8AC3E}">
        <p14:creationId xmlns:p14="http://schemas.microsoft.com/office/powerpoint/2010/main" val="2880192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atawdash.blogspot.com/search?q=Machine+Learning</a:t>
            </a:r>
          </a:p>
          <a:p>
            <a:r>
              <a:rPr lang="en-US" dirty="0"/>
              <a:t>https://datawdash.blogspot.com/search?q=Statistics</a:t>
            </a:r>
          </a:p>
        </p:txBody>
      </p:sp>
      <p:sp>
        <p:nvSpPr>
          <p:cNvPr id="4" name="Slide Number Placeholder 3"/>
          <p:cNvSpPr>
            <a:spLocks noGrp="1"/>
          </p:cNvSpPr>
          <p:nvPr>
            <p:ph type="sldNum" sz="quarter" idx="5"/>
          </p:nvPr>
        </p:nvSpPr>
        <p:spPr/>
        <p:txBody>
          <a:bodyPr/>
          <a:lstStyle/>
          <a:p>
            <a:fld id="{25B118CB-5BC2-409A-8B7B-5BBD273AF684}" type="slidenum">
              <a:rPr lang="en-US" smtClean="0"/>
              <a:t>12</a:t>
            </a:fld>
            <a:endParaRPr lang="en-US"/>
          </a:p>
        </p:txBody>
      </p:sp>
    </p:spTree>
    <p:extLst>
      <p:ext uri="{BB962C8B-B14F-4D97-AF65-F5344CB8AC3E}">
        <p14:creationId xmlns:p14="http://schemas.microsoft.com/office/powerpoint/2010/main" val="3525928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atawdash.blogspot.com/search?q=Machine+Learning</a:t>
            </a:r>
          </a:p>
          <a:p>
            <a:r>
              <a:rPr lang="en-US" dirty="0"/>
              <a:t>https://datawdash.blogspot.com/search?q=Statistics</a:t>
            </a:r>
          </a:p>
        </p:txBody>
      </p:sp>
      <p:sp>
        <p:nvSpPr>
          <p:cNvPr id="4" name="Slide Number Placeholder 3"/>
          <p:cNvSpPr>
            <a:spLocks noGrp="1"/>
          </p:cNvSpPr>
          <p:nvPr>
            <p:ph type="sldNum" sz="quarter" idx="5"/>
          </p:nvPr>
        </p:nvSpPr>
        <p:spPr/>
        <p:txBody>
          <a:bodyPr/>
          <a:lstStyle/>
          <a:p>
            <a:fld id="{25B118CB-5BC2-409A-8B7B-5BBD273AF684}" type="slidenum">
              <a:rPr lang="en-US" smtClean="0"/>
              <a:t>13</a:t>
            </a:fld>
            <a:endParaRPr lang="en-US"/>
          </a:p>
        </p:txBody>
      </p:sp>
    </p:spTree>
    <p:extLst>
      <p:ext uri="{BB962C8B-B14F-4D97-AF65-F5344CB8AC3E}">
        <p14:creationId xmlns:p14="http://schemas.microsoft.com/office/powerpoint/2010/main" val="4143365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bjectiveit.com/data-analytics/machine-learning/</a:t>
            </a:r>
          </a:p>
        </p:txBody>
      </p:sp>
      <p:sp>
        <p:nvSpPr>
          <p:cNvPr id="4" name="Slide Number Placeholder 3"/>
          <p:cNvSpPr>
            <a:spLocks noGrp="1"/>
          </p:cNvSpPr>
          <p:nvPr>
            <p:ph type="sldNum" sz="quarter" idx="5"/>
          </p:nvPr>
        </p:nvSpPr>
        <p:spPr/>
        <p:txBody>
          <a:bodyPr/>
          <a:lstStyle/>
          <a:p>
            <a:fld id="{25B118CB-5BC2-409A-8B7B-5BBD273AF684}" type="slidenum">
              <a:rPr lang="en-US" smtClean="0"/>
              <a:t>18</a:t>
            </a:fld>
            <a:endParaRPr lang="en-US"/>
          </a:p>
        </p:txBody>
      </p:sp>
    </p:spTree>
    <p:extLst>
      <p:ext uri="{BB962C8B-B14F-4D97-AF65-F5344CB8AC3E}">
        <p14:creationId xmlns:p14="http://schemas.microsoft.com/office/powerpoint/2010/main" val="253574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2CC56-E84C-43E6-BBB5-5E8DD00339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3C7377-4D1B-47BE-9E5F-D3297D97B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161728D-3906-4648-9FD3-1012F3E13DA4}"/>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3221AE35-4802-4017-810C-7C7210A780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29027C-8C79-4173-8B26-462B84FF881E}"/>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1950224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3952D-CD95-4CD2-A0BB-982C756087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D8088A-295F-45C8-A4A4-B2E00A819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E7E23-1686-4476-8456-966A234EC8A9}"/>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8DD91DA2-B5E8-4FD0-B974-DEED8404F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74D7C-1466-4BFB-A980-6940817701F9}"/>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1371844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D2E54E-ABB5-4945-98B5-58CAE8869E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5AD699A-A0A1-43CB-8DA3-CFA401BF5C0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7E5A4B-37A9-4A1B-9CA9-B65A2C883ED7}"/>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F218704D-35F9-49DB-91B0-F9BE60B351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3667D4-5F75-442A-B7BC-F46BEC228F50}"/>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970328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DCFCC-2610-41E1-8647-552A3F0CBF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6CCEA0-218F-4B7E-AA77-2104794C52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E8BEC0-464B-4C8F-B6B4-C310EE3654E9}"/>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BCE47A61-9207-4910-886A-BD2BC8F48D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FD69FA-87B7-494C-86E2-4650C1DB144D}"/>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957618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D5BD6-2A46-416F-8A8A-A28254A8049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1CAB45C-39CE-44E3-A0FC-9747A13899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F7A6CF3-1DAE-4CF7-B793-0BBB84D3A63F}"/>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6CF16D32-1615-4394-BE3B-5E349E3BD8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F4A5AF-4D08-40E6-8E9E-ACCDCDEB43B4}"/>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960598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17DA7-1466-4A99-A17E-DA680F27BB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B00403-B359-4C00-A95E-EAD9D8EF17C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071261-9844-4C69-B1E4-2ACA81E156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DB5560A-C2F2-49F8-B1D5-1D9BB096B0BD}"/>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6" name="Footer Placeholder 5">
            <a:extLst>
              <a:ext uri="{FF2B5EF4-FFF2-40B4-BE49-F238E27FC236}">
                <a16:creationId xmlns:a16="http://schemas.microsoft.com/office/drawing/2014/main" id="{16E4E6EA-8337-4D80-B6BF-8E6A209BC6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A4DD96-81D1-4813-BA45-93F9C89C07D3}"/>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490199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257C-7111-4C84-B211-E83719EB26B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C58E1A7-B6AC-4973-85B0-37364AF989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723171-511A-4C1D-8E84-4C62B7E5FC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587F11-2C83-4BF2-B508-76BBE36FD4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1F36B8-3C67-4CA7-AABF-EAF017E032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7851A6-02C4-4F8D-B521-9E630C5733E4}"/>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8" name="Footer Placeholder 7">
            <a:extLst>
              <a:ext uri="{FF2B5EF4-FFF2-40B4-BE49-F238E27FC236}">
                <a16:creationId xmlns:a16="http://schemas.microsoft.com/office/drawing/2014/main" id="{C0995005-65B7-4EBA-A8CB-63533355BB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0B6783-C7EE-42D1-BEB1-199DF745AF96}"/>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3689279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457D1-A0F6-4355-BFBB-1EEF1C5556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F87BC90-2869-4614-9143-51892BB9B91C}"/>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4" name="Footer Placeholder 3">
            <a:extLst>
              <a:ext uri="{FF2B5EF4-FFF2-40B4-BE49-F238E27FC236}">
                <a16:creationId xmlns:a16="http://schemas.microsoft.com/office/drawing/2014/main" id="{FBF8796E-DFD2-412C-8832-D2D72E7E02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EDAE8B-3258-40AF-B67A-CF4F3BD7C5A4}"/>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81610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9D5256-BE6D-4C25-8374-EE36FA7E4463}"/>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3" name="Footer Placeholder 2">
            <a:extLst>
              <a:ext uri="{FF2B5EF4-FFF2-40B4-BE49-F238E27FC236}">
                <a16:creationId xmlns:a16="http://schemas.microsoft.com/office/drawing/2014/main" id="{A673C9EA-9B3B-4B3E-9E10-25F6ED8AA22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16F9F3-0CC3-412F-B07A-7387361E8B73}"/>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469120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20E2-A6C5-4D5D-88CD-82ED0F6AD3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9D2AE6-60BC-4329-A626-F7826ED701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A7CFF3-1EE2-4DF8-8ACC-2DBF0AB21C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B8021C-5EB1-4DC6-BB25-45F510665185}"/>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6" name="Footer Placeholder 5">
            <a:extLst>
              <a:ext uri="{FF2B5EF4-FFF2-40B4-BE49-F238E27FC236}">
                <a16:creationId xmlns:a16="http://schemas.microsoft.com/office/drawing/2014/main" id="{808DE3AC-33E4-4DEE-A027-1A23C237E9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FB0412-F794-4386-A0E3-C4B3966C1ABE}"/>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2266931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8A63C-A64C-438E-ACAF-C37A053175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DBEB51-CDB2-465F-98C9-F5AB5DEED0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13C690-50B9-43DE-BDBD-76FEF2DE88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4CF084-10B1-49BA-9DC3-348B4E5F007A}"/>
              </a:ext>
            </a:extLst>
          </p:cNvPr>
          <p:cNvSpPr>
            <a:spLocks noGrp="1"/>
          </p:cNvSpPr>
          <p:nvPr>
            <p:ph type="dt" sz="half" idx="10"/>
          </p:nvPr>
        </p:nvSpPr>
        <p:spPr/>
        <p:txBody>
          <a:bodyPr/>
          <a:lstStyle/>
          <a:p>
            <a:fld id="{2BB830D1-F50A-451E-8080-6723B8141070}" type="datetimeFigureOut">
              <a:rPr lang="en-US" smtClean="0"/>
              <a:t>12/26/2021</a:t>
            </a:fld>
            <a:endParaRPr lang="en-US"/>
          </a:p>
        </p:txBody>
      </p:sp>
      <p:sp>
        <p:nvSpPr>
          <p:cNvPr id="6" name="Footer Placeholder 5">
            <a:extLst>
              <a:ext uri="{FF2B5EF4-FFF2-40B4-BE49-F238E27FC236}">
                <a16:creationId xmlns:a16="http://schemas.microsoft.com/office/drawing/2014/main" id="{5F90AF05-FEB7-4327-9830-9EBE3AC93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714D8D-ECCA-4356-B651-97039A8EDCC3}"/>
              </a:ext>
            </a:extLst>
          </p:cNvPr>
          <p:cNvSpPr>
            <a:spLocks noGrp="1"/>
          </p:cNvSpPr>
          <p:nvPr>
            <p:ph type="sldNum" sz="quarter" idx="12"/>
          </p:nvPr>
        </p:nvSpPr>
        <p:spPr/>
        <p:txBody>
          <a:bodyPr/>
          <a:lstStyle/>
          <a:p>
            <a:fld id="{CB09B8E8-22ED-464D-8F9B-86CEBD683394}" type="slidenum">
              <a:rPr lang="en-US" smtClean="0"/>
              <a:t>‹#›</a:t>
            </a:fld>
            <a:endParaRPr lang="en-US"/>
          </a:p>
        </p:txBody>
      </p:sp>
    </p:spTree>
    <p:extLst>
      <p:ext uri="{BB962C8B-B14F-4D97-AF65-F5344CB8AC3E}">
        <p14:creationId xmlns:p14="http://schemas.microsoft.com/office/powerpoint/2010/main" val="1939970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A9E5D5-BDFF-4A0F-9A56-71FFD630EE65}"/>
              </a:ext>
            </a:extLst>
          </p:cNvPr>
          <p:cNvGraphicFramePr>
            <a:graphicFrameLocks noChangeAspect="1"/>
          </p:cNvGraphicFramePr>
          <p:nvPr userDrawn="1">
            <p:custDataLst>
              <p:tags r:id="rId13"/>
            </p:custDataLst>
            <p:extLst>
              <p:ext uri="{D42A27DB-BD31-4B8C-83A1-F6EECF244321}">
                <p14:modId xmlns:p14="http://schemas.microsoft.com/office/powerpoint/2010/main" val="270815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CDA9E5D5-BDFF-4A0F-9A56-71FFD630EE6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0240EC-E2E3-4C99-96B5-5EBE095746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114C033-F4F6-4DC9-B63E-8A9504DF01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83C52F-609B-45CE-93FE-30A163CD2F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B830D1-F50A-451E-8080-6723B8141070}" type="datetimeFigureOut">
              <a:rPr lang="en-US" smtClean="0"/>
              <a:t>12/26/2021</a:t>
            </a:fld>
            <a:endParaRPr lang="en-US"/>
          </a:p>
        </p:txBody>
      </p:sp>
      <p:sp>
        <p:nvSpPr>
          <p:cNvPr id="5" name="Footer Placeholder 4">
            <a:extLst>
              <a:ext uri="{FF2B5EF4-FFF2-40B4-BE49-F238E27FC236}">
                <a16:creationId xmlns:a16="http://schemas.microsoft.com/office/drawing/2014/main" id="{B90A6ACE-436A-4C8E-8679-62B5E478A4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9347BD-14D7-4C8F-9050-21F7C8C7B8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09B8E8-22ED-464D-8F9B-86CEBD683394}" type="slidenum">
              <a:rPr lang="en-US" smtClean="0"/>
              <a:t>‹#›</a:t>
            </a:fld>
            <a:endParaRPr lang="en-US"/>
          </a:p>
        </p:txBody>
      </p:sp>
    </p:spTree>
    <p:extLst>
      <p:ext uri="{BB962C8B-B14F-4D97-AF65-F5344CB8AC3E}">
        <p14:creationId xmlns:p14="http://schemas.microsoft.com/office/powerpoint/2010/main" val="21065845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png"/><Relationship Id="rId3" Type="http://schemas.openxmlformats.org/officeDocument/2006/relationships/image" Target="../media/image3.png"/><Relationship Id="rId21" Type="http://schemas.openxmlformats.org/officeDocument/2006/relationships/image" Target="../media/image21.png"/><Relationship Id="rId34" Type="http://schemas.openxmlformats.org/officeDocument/2006/relationships/image" Target="../media/image34.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33" Type="http://schemas.openxmlformats.org/officeDocument/2006/relationships/image" Target="../media/image33.png"/><Relationship Id="rId2" Type="http://schemas.openxmlformats.org/officeDocument/2006/relationships/image" Target="../media/image2.png"/><Relationship Id="rId16" Type="http://schemas.openxmlformats.org/officeDocument/2006/relationships/image" Target="../media/image16.png"/><Relationship Id="rId20" Type="http://schemas.openxmlformats.org/officeDocument/2006/relationships/image" Target="../media/image20.png"/><Relationship Id="rId29"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32" Type="http://schemas.openxmlformats.org/officeDocument/2006/relationships/image" Target="../media/image32.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28" Type="http://schemas.openxmlformats.org/officeDocument/2006/relationships/image" Target="../media/image28.png"/><Relationship Id="rId10" Type="http://schemas.openxmlformats.org/officeDocument/2006/relationships/image" Target="../media/image10.png"/><Relationship Id="rId19" Type="http://schemas.openxmlformats.org/officeDocument/2006/relationships/image" Target="../media/image19.png"/><Relationship Id="rId31" Type="http://schemas.openxmlformats.org/officeDocument/2006/relationships/image" Target="../media/image31.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png"/><Relationship Id="rId30"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hyperlink" Target="https://www.prospects.ac.uk/job-profiles/machine-learning-engineer" TargetMode="External"/><Relationship Id="rId3" Type="http://schemas.openxmlformats.org/officeDocument/2006/relationships/notesSlide" Target="../notesSlides/notesSlide4.xml"/><Relationship Id="rId7" Type="http://schemas.openxmlformats.org/officeDocument/2006/relationships/hyperlink" Target="https://resources.workable.com/machine-learning-engineer-job-description" TargetMode="External"/><Relationship Id="rId12" Type="http://schemas.openxmlformats.org/officeDocument/2006/relationships/hyperlink" Target="https://www.glassdoor.co.in/Job-Descriptions/Statistician.htm" TargetMode="Externa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5.jpg"/><Relationship Id="rId11" Type="http://schemas.openxmlformats.org/officeDocument/2006/relationships/hyperlink" Target="https://snaphunt.com/resources/job-descriptions/statistician-job-description" TargetMode="External"/><Relationship Id="rId5" Type="http://schemas.openxmlformats.org/officeDocument/2006/relationships/image" Target="../media/image1.emf"/><Relationship Id="rId10" Type="http://schemas.openxmlformats.org/officeDocument/2006/relationships/hyperlink" Target="https://www.collegedekho.com/careers/statistician" TargetMode="External"/><Relationship Id="rId4" Type="http://schemas.openxmlformats.org/officeDocument/2006/relationships/oleObject" Target="../embeddings/oleObject13.bin"/><Relationship Id="rId9" Type="http://schemas.openxmlformats.org/officeDocument/2006/relationships/hyperlink" Target="https://www.betterteam.com/machine-learning-engineer-job-description" TargetMode="Externa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0.png"/><Relationship Id="rId5" Type="http://schemas.openxmlformats.org/officeDocument/2006/relationships/image" Target="../media/image35.jp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35.jp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5.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4.png"/><Relationship Id="rId5" Type="http://schemas.openxmlformats.org/officeDocument/2006/relationships/image" Target="../media/image35.jp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xml"/><Relationship Id="rId7" Type="http://schemas.openxmlformats.org/officeDocument/2006/relationships/hyperlink" Target="http://statweb.stanford.edu/~tibs/stat315a/glossary.pdf" TargetMode="Externa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jp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9.bin"/><Relationship Id="rId9" Type="http://schemas.openxmlformats.org/officeDocument/2006/relationships/customXml" Target="../ink/ink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9232" y="-17653"/>
            <a:ext cx="12191144" cy="6853359"/>
            <a:chOff x="0" y="6094"/>
            <a:chExt cx="20104099" cy="11301696"/>
          </a:xfrm>
        </p:grpSpPr>
        <p:sp>
          <p:nvSpPr>
            <p:cNvPr id="3" name="object 3"/>
            <p:cNvSpPr/>
            <p:nvPr/>
          </p:nvSpPr>
          <p:spPr>
            <a:xfrm>
              <a:off x="3185159" y="15238"/>
              <a:ext cx="16918940" cy="11283408"/>
            </a:xfrm>
            <a:prstGeom prst="rect">
              <a:avLst/>
            </a:prstGeom>
            <a:blipFill>
              <a:blip r:embed="rId2" cstate="print"/>
              <a:stretch>
                <a:fillRect/>
              </a:stretch>
            </a:blipFill>
          </p:spPr>
          <p:txBody>
            <a:bodyPr wrap="square" lIns="0" tIns="0" rIns="0" bIns="0" rtlCol="0"/>
            <a:lstStyle/>
            <a:p>
              <a:endParaRPr sz="1092"/>
            </a:p>
          </p:txBody>
        </p:sp>
        <p:sp>
          <p:nvSpPr>
            <p:cNvPr id="4" name="object 4"/>
            <p:cNvSpPr/>
            <p:nvPr/>
          </p:nvSpPr>
          <p:spPr>
            <a:xfrm>
              <a:off x="0" y="6094"/>
              <a:ext cx="20104099" cy="11301696"/>
            </a:xfrm>
            <a:prstGeom prst="rect">
              <a:avLst/>
            </a:prstGeom>
            <a:blipFill>
              <a:blip r:embed="rId3" cstate="print"/>
              <a:stretch>
                <a:fillRect/>
              </a:stretch>
            </a:blipFill>
          </p:spPr>
          <p:txBody>
            <a:bodyPr wrap="square" lIns="0" tIns="0" rIns="0" bIns="0" rtlCol="0"/>
            <a:lstStyle/>
            <a:p>
              <a:endParaRPr sz="1092"/>
            </a:p>
          </p:txBody>
        </p:sp>
        <p:sp>
          <p:nvSpPr>
            <p:cNvPr id="5" name="object 5"/>
            <p:cNvSpPr/>
            <p:nvPr/>
          </p:nvSpPr>
          <p:spPr>
            <a:xfrm>
              <a:off x="19997928" y="11201115"/>
              <a:ext cx="106170" cy="106674"/>
            </a:xfrm>
            <a:prstGeom prst="rect">
              <a:avLst/>
            </a:prstGeom>
            <a:blipFill>
              <a:blip r:embed="rId4" cstate="print"/>
              <a:stretch>
                <a:fillRect/>
              </a:stretch>
            </a:blipFill>
          </p:spPr>
          <p:txBody>
            <a:bodyPr wrap="square" lIns="0" tIns="0" rIns="0" bIns="0" rtlCol="0"/>
            <a:lstStyle/>
            <a:p>
              <a:endParaRPr sz="1092"/>
            </a:p>
          </p:txBody>
        </p:sp>
        <p:sp>
          <p:nvSpPr>
            <p:cNvPr id="11" name="object 11"/>
            <p:cNvSpPr/>
            <p:nvPr/>
          </p:nvSpPr>
          <p:spPr>
            <a:xfrm>
              <a:off x="526084" y="1078198"/>
              <a:ext cx="385445" cy="146685"/>
            </a:xfrm>
            <a:custGeom>
              <a:avLst/>
              <a:gdLst/>
              <a:ahLst/>
              <a:cxnLst/>
              <a:rect l="l" t="t" r="r" b="b"/>
              <a:pathLst>
                <a:path w="385444" h="146684">
                  <a:moveTo>
                    <a:pt x="61275" y="258"/>
                  </a:moveTo>
                  <a:lnTo>
                    <a:pt x="53020" y="258"/>
                  </a:lnTo>
                  <a:lnTo>
                    <a:pt x="41717" y="1274"/>
                  </a:lnTo>
                  <a:lnTo>
                    <a:pt x="8241" y="23498"/>
                  </a:lnTo>
                  <a:lnTo>
                    <a:pt x="-13" y="54486"/>
                  </a:lnTo>
                  <a:lnTo>
                    <a:pt x="3085" y="74551"/>
                  </a:lnTo>
                  <a:lnTo>
                    <a:pt x="27786" y="108078"/>
                  </a:lnTo>
                  <a:lnTo>
                    <a:pt x="76299" y="132589"/>
                  </a:lnTo>
                  <a:lnTo>
                    <a:pt x="143327" y="145034"/>
                  </a:lnTo>
                  <a:lnTo>
                    <a:pt x="183458" y="146558"/>
                  </a:lnTo>
                  <a:lnTo>
                    <a:pt x="235476" y="143764"/>
                  </a:lnTo>
                  <a:lnTo>
                    <a:pt x="280395" y="135002"/>
                  </a:lnTo>
                  <a:lnTo>
                    <a:pt x="318227" y="120524"/>
                  </a:lnTo>
                  <a:lnTo>
                    <a:pt x="372773" y="74043"/>
                  </a:lnTo>
                  <a:lnTo>
                    <a:pt x="384875" y="50930"/>
                  </a:lnTo>
                  <a:lnTo>
                    <a:pt x="186900" y="50930"/>
                  </a:lnTo>
                  <a:lnTo>
                    <a:pt x="177083" y="50549"/>
                  </a:lnTo>
                  <a:lnTo>
                    <a:pt x="130653" y="36325"/>
                  </a:lnTo>
                  <a:lnTo>
                    <a:pt x="99590" y="16641"/>
                  </a:lnTo>
                  <a:lnTo>
                    <a:pt x="91310" y="11688"/>
                  </a:lnTo>
                  <a:lnTo>
                    <a:pt x="83931" y="7751"/>
                  </a:lnTo>
                  <a:lnTo>
                    <a:pt x="77454" y="4957"/>
                  </a:lnTo>
                  <a:lnTo>
                    <a:pt x="69415" y="1909"/>
                  </a:lnTo>
                  <a:lnTo>
                    <a:pt x="61275" y="258"/>
                  </a:lnTo>
                  <a:close/>
                </a:path>
              </a:pathLst>
            </a:custGeom>
            <a:solidFill>
              <a:srgbClr val="FFFFFF"/>
            </a:solidFill>
          </p:spPr>
          <p:txBody>
            <a:bodyPr wrap="square" lIns="0" tIns="0" rIns="0" bIns="0" rtlCol="0"/>
            <a:lstStyle/>
            <a:p>
              <a:endParaRPr sz="1092"/>
            </a:p>
          </p:txBody>
        </p:sp>
        <p:sp>
          <p:nvSpPr>
            <p:cNvPr id="12" name="object 12"/>
            <p:cNvSpPr/>
            <p:nvPr/>
          </p:nvSpPr>
          <p:spPr>
            <a:xfrm>
              <a:off x="713003" y="1014190"/>
              <a:ext cx="216471" cy="114680"/>
            </a:xfrm>
            <a:prstGeom prst="rect">
              <a:avLst/>
            </a:prstGeom>
            <a:blipFill>
              <a:blip r:embed="rId5" cstate="print"/>
              <a:stretch>
                <a:fillRect/>
              </a:stretch>
            </a:blipFill>
          </p:spPr>
          <p:txBody>
            <a:bodyPr wrap="square" lIns="0" tIns="0" rIns="0" bIns="0" rtlCol="0"/>
            <a:lstStyle/>
            <a:p>
              <a:endParaRPr sz="1092"/>
            </a:p>
          </p:txBody>
        </p:sp>
        <p:sp>
          <p:nvSpPr>
            <p:cNvPr id="13" name="object 13"/>
            <p:cNvSpPr/>
            <p:nvPr/>
          </p:nvSpPr>
          <p:spPr>
            <a:xfrm>
              <a:off x="515111" y="673322"/>
              <a:ext cx="414655" cy="376555"/>
            </a:xfrm>
            <a:custGeom>
              <a:avLst/>
              <a:gdLst/>
              <a:ahLst/>
              <a:cxnLst/>
              <a:rect l="l" t="t" r="r" b="b"/>
              <a:pathLst>
                <a:path w="414655" h="376555">
                  <a:moveTo>
                    <a:pt x="159660" y="268"/>
                  </a:moveTo>
                  <a:lnTo>
                    <a:pt x="94282" y="13349"/>
                  </a:lnTo>
                  <a:lnTo>
                    <a:pt x="43508" y="52591"/>
                  </a:lnTo>
                  <a:lnTo>
                    <a:pt x="10857" y="113676"/>
                  </a:lnTo>
                  <a:lnTo>
                    <a:pt x="-13" y="192668"/>
                  </a:lnTo>
                  <a:lnTo>
                    <a:pt x="2831" y="232291"/>
                  </a:lnTo>
                  <a:lnTo>
                    <a:pt x="25614" y="299346"/>
                  </a:lnTo>
                  <a:lnTo>
                    <a:pt x="70254" y="348493"/>
                  </a:lnTo>
                  <a:lnTo>
                    <a:pt x="130907" y="373639"/>
                  </a:lnTo>
                  <a:lnTo>
                    <a:pt x="166911" y="376814"/>
                  </a:lnTo>
                  <a:lnTo>
                    <a:pt x="183116" y="376306"/>
                  </a:lnTo>
                  <a:lnTo>
                    <a:pt x="226244" y="368051"/>
                  </a:lnTo>
                  <a:lnTo>
                    <a:pt x="261257" y="349509"/>
                  </a:lnTo>
                  <a:lnTo>
                    <a:pt x="271163" y="341128"/>
                  </a:lnTo>
                  <a:lnTo>
                    <a:pt x="414339" y="341128"/>
                  </a:lnTo>
                  <a:lnTo>
                    <a:pt x="414339" y="270898"/>
                  </a:lnTo>
                  <a:lnTo>
                    <a:pt x="207829" y="270898"/>
                  </a:lnTo>
                  <a:lnTo>
                    <a:pt x="193644" y="269628"/>
                  </a:lnTo>
                  <a:lnTo>
                    <a:pt x="155773" y="239657"/>
                  </a:lnTo>
                  <a:lnTo>
                    <a:pt x="147341" y="192668"/>
                  </a:lnTo>
                  <a:lnTo>
                    <a:pt x="147290" y="190128"/>
                  </a:lnTo>
                  <a:lnTo>
                    <a:pt x="148217" y="172730"/>
                  </a:lnTo>
                  <a:lnTo>
                    <a:pt x="162758" y="132091"/>
                  </a:lnTo>
                  <a:lnTo>
                    <a:pt x="207829" y="111898"/>
                  </a:lnTo>
                  <a:lnTo>
                    <a:pt x="414339" y="111898"/>
                  </a:lnTo>
                  <a:lnTo>
                    <a:pt x="414339" y="83578"/>
                  </a:lnTo>
                  <a:lnTo>
                    <a:pt x="413348" y="63894"/>
                  </a:lnTo>
                  <a:lnTo>
                    <a:pt x="412383" y="58433"/>
                  </a:lnTo>
                  <a:lnTo>
                    <a:pt x="283227" y="58433"/>
                  </a:lnTo>
                  <a:lnTo>
                    <a:pt x="272115" y="44590"/>
                  </a:lnTo>
                  <a:lnTo>
                    <a:pt x="231578" y="14619"/>
                  </a:lnTo>
                  <a:lnTo>
                    <a:pt x="179649" y="1157"/>
                  </a:lnTo>
                  <a:lnTo>
                    <a:pt x="159660" y="268"/>
                  </a:lnTo>
                  <a:close/>
                </a:path>
              </a:pathLst>
            </a:custGeom>
            <a:solidFill>
              <a:srgbClr val="FFFFFF"/>
            </a:solidFill>
          </p:spPr>
          <p:txBody>
            <a:bodyPr wrap="square" lIns="0" tIns="0" rIns="0" bIns="0" rtlCol="0"/>
            <a:lstStyle/>
            <a:p>
              <a:endParaRPr sz="1092"/>
            </a:p>
          </p:txBody>
        </p:sp>
        <p:sp>
          <p:nvSpPr>
            <p:cNvPr id="14" name="object 14"/>
            <p:cNvSpPr/>
            <p:nvPr/>
          </p:nvSpPr>
          <p:spPr>
            <a:xfrm>
              <a:off x="722960" y="784955"/>
              <a:ext cx="206514" cy="159004"/>
            </a:xfrm>
            <a:prstGeom prst="rect">
              <a:avLst/>
            </a:prstGeom>
            <a:blipFill>
              <a:blip r:embed="rId6" cstate="print"/>
              <a:stretch>
                <a:fillRect/>
              </a:stretch>
            </a:blipFill>
          </p:spPr>
          <p:txBody>
            <a:bodyPr wrap="square" lIns="0" tIns="0" rIns="0" bIns="0" rtlCol="0"/>
            <a:lstStyle/>
            <a:p>
              <a:endParaRPr sz="1092"/>
            </a:p>
          </p:txBody>
        </p:sp>
        <p:sp>
          <p:nvSpPr>
            <p:cNvPr id="15" name="object 15"/>
            <p:cNvSpPr/>
            <p:nvPr/>
          </p:nvSpPr>
          <p:spPr>
            <a:xfrm>
              <a:off x="798334" y="675760"/>
              <a:ext cx="497205" cy="400050"/>
            </a:xfrm>
            <a:custGeom>
              <a:avLst/>
              <a:gdLst/>
              <a:ahLst/>
              <a:cxnLst/>
              <a:rect l="l" t="t" r="r" b="b"/>
              <a:pathLst>
                <a:path w="497205" h="400050">
                  <a:moveTo>
                    <a:pt x="129159" y="56007"/>
                  </a:moveTo>
                  <a:lnTo>
                    <a:pt x="115265" y="19431"/>
                  </a:lnTo>
                  <a:lnTo>
                    <a:pt x="80886" y="1143"/>
                  </a:lnTo>
                  <a:lnTo>
                    <a:pt x="64681" y="0"/>
                  </a:lnTo>
                  <a:lnTo>
                    <a:pt x="23380" y="13589"/>
                  </a:lnTo>
                  <a:lnTo>
                    <a:pt x="0" y="56007"/>
                  </a:lnTo>
                  <a:lnTo>
                    <a:pt x="129159" y="56007"/>
                  </a:lnTo>
                  <a:close/>
                </a:path>
                <a:path w="497205" h="400050">
                  <a:moveTo>
                    <a:pt x="496646" y="105905"/>
                  </a:moveTo>
                  <a:lnTo>
                    <a:pt x="347446" y="105905"/>
                  </a:lnTo>
                  <a:lnTo>
                    <a:pt x="347446" y="73279"/>
                  </a:lnTo>
                  <a:lnTo>
                    <a:pt x="337908" y="28702"/>
                  </a:lnTo>
                  <a:lnTo>
                    <a:pt x="294855" y="1778"/>
                  </a:lnTo>
                  <a:lnTo>
                    <a:pt x="278460" y="635"/>
                  </a:lnTo>
                  <a:lnTo>
                    <a:pt x="238175" y="11557"/>
                  </a:lnTo>
                  <a:lnTo>
                    <a:pt x="214985" y="43180"/>
                  </a:lnTo>
                  <a:lnTo>
                    <a:pt x="210515" y="319900"/>
                  </a:lnTo>
                  <a:lnTo>
                    <a:pt x="211772" y="337299"/>
                  </a:lnTo>
                  <a:lnTo>
                    <a:pt x="230568" y="378193"/>
                  </a:lnTo>
                  <a:lnTo>
                    <a:pt x="268719" y="398259"/>
                  </a:lnTo>
                  <a:lnTo>
                    <a:pt x="284988" y="399529"/>
                  </a:lnTo>
                  <a:lnTo>
                    <a:pt x="301180" y="398259"/>
                  </a:lnTo>
                  <a:lnTo>
                    <a:pt x="339204" y="378447"/>
                  </a:lnTo>
                  <a:lnTo>
                    <a:pt x="358216" y="338823"/>
                  </a:lnTo>
                  <a:lnTo>
                    <a:pt x="359473" y="321932"/>
                  </a:lnTo>
                  <a:lnTo>
                    <a:pt x="359473" y="235191"/>
                  </a:lnTo>
                  <a:lnTo>
                    <a:pt x="360464" y="216649"/>
                  </a:lnTo>
                  <a:lnTo>
                    <a:pt x="375272" y="175501"/>
                  </a:lnTo>
                  <a:lnTo>
                    <a:pt x="413816" y="150609"/>
                  </a:lnTo>
                  <a:lnTo>
                    <a:pt x="451573" y="138798"/>
                  </a:lnTo>
                  <a:lnTo>
                    <a:pt x="466991" y="132067"/>
                  </a:lnTo>
                  <a:lnTo>
                    <a:pt x="479501" y="124574"/>
                  </a:lnTo>
                  <a:lnTo>
                    <a:pt x="489280" y="116192"/>
                  </a:lnTo>
                  <a:lnTo>
                    <a:pt x="496646" y="105905"/>
                  </a:lnTo>
                  <a:close/>
                </a:path>
              </a:pathLst>
            </a:custGeom>
            <a:solidFill>
              <a:srgbClr val="FFFFFF"/>
            </a:solidFill>
          </p:spPr>
          <p:txBody>
            <a:bodyPr wrap="square" lIns="0" tIns="0" rIns="0" bIns="0" rtlCol="0"/>
            <a:lstStyle/>
            <a:p>
              <a:endParaRPr sz="1092"/>
            </a:p>
          </p:txBody>
        </p:sp>
        <p:sp>
          <p:nvSpPr>
            <p:cNvPr id="16" name="object 16"/>
            <p:cNvSpPr/>
            <p:nvPr/>
          </p:nvSpPr>
          <p:spPr>
            <a:xfrm>
              <a:off x="1145819" y="673322"/>
              <a:ext cx="158216" cy="108076"/>
            </a:xfrm>
            <a:prstGeom prst="rect">
              <a:avLst/>
            </a:prstGeom>
            <a:blipFill>
              <a:blip r:embed="rId7" cstate="print"/>
              <a:stretch>
                <a:fillRect/>
              </a:stretch>
            </a:blipFill>
          </p:spPr>
          <p:txBody>
            <a:bodyPr wrap="square" lIns="0" tIns="0" rIns="0" bIns="0" rtlCol="0"/>
            <a:lstStyle/>
            <a:p>
              <a:endParaRPr sz="1092"/>
            </a:p>
          </p:txBody>
        </p:sp>
        <p:sp>
          <p:nvSpPr>
            <p:cNvPr id="17" name="object 17"/>
            <p:cNvSpPr/>
            <p:nvPr/>
          </p:nvSpPr>
          <p:spPr>
            <a:xfrm>
              <a:off x="1304505" y="670553"/>
              <a:ext cx="414655" cy="414655"/>
            </a:xfrm>
            <a:custGeom>
              <a:avLst/>
              <a:gdLst/>
              <a:ahLst/>
              <a:cxnLst/>
              <a:rect l="l" t="t" r="r" b="b"/>
              <a:pathLst>
                <a:path w="414655" h="414655">
                  <a:moveTo>
                    <a:pt x="414134" y="185534"/>
                  </a:moveTo>
                  <a:lnTo>
                    <a:pt x="413372" y="169151"/>
                  </a:lnTo>
                  <a:lnTo>
                    <a:pt x="412483" y="163436"/>
                  </a:lnTo>
                  <a:lnTo>
                    <a:pt x="149987" y="163436"/>
                  </a:lnTo>
                  <a:lnTo>
                    <a:pt x="151638" y="147561"/>
                  </a:lnTo>
                  <a:lnTo>
                    <a:pt x="168529" y="110731"/>
                  </a:lnTo>
                  <a:lnTo>
                    <a:pt x="214998" y="91681"/>
                  </a:lnTo>
                  <a:lnTo>
                    <a:pt x="385940" y="91681"/>
                  </a:lnTo>
                  <a:lnTo>
                    <a:pt x="384289" y="88760"/>
                  </a:lnTo>
                  <a:lnTo>
                    <a:pt x="348094" y="47371"/>
                  </a:lnTo>
                  <a:lnTo>
                    <a:pt x="314820" y="24130"/>
                  </a:lnTo>
                  <a:lnTo>
                    <a:pt x="277863" y="8763"/>
                  </a:lnTo>
                  <a:lnTo>
                    <a:pt x="237731" y="1016"/>
                  </a:lnTo>
                  <a:lnTo>
                    <a:pt x="216395" y="0"/>
                  </a:lnTo>
                  <a:lnTo>
                    <a:pt x="169037" y="3556"/>
                  </a:lnTo>
                  <a:lnTo>
                    <a:pt x="126873" y="14097"/>
                  </a:lnTo>
                  <a:lnTo>
                    <a:pt x="89916" y="31750"/>
                  </a:lnTo>
                  <a:lnTo>
                    <a:pt x="58166" y="56388"/>
                  </a:lnTo>
                  <a:lnTo>
                    <a:pt x="32766" y="87109"/>
                  </a:lnTo>
                  <a:lnTo>
                    <a:pt x="14605" y="122923"/>
                  </a:lnTo>
                  <a:lnTo>
                    <a:pt x="3683" y="163944"/>
                  </a:lnTo>
                  <a:lnTo>
                    <a:pt x="0" y="210045"/>
                  </a:lnTo>
                  <a:lnTo>
                    <a:pt x="3556" y="254622"/>
                  </a:lnTo>
                  <a:lnTo>
                    <a:pt x="14224" y="294246"/>
                  </a:lnTo>
                  <a:lnTo>
                    <a:pt x="32004" y="329044"/>
                  </a:lnTo>
                  <a:lnTo>
                    <a:pt x="57023" y="359016"/>
                  </a:lnTo>
                  <a:lnTo>
                    <a:pt x="87884" y="383146"/>
                  </a:lnTo>
                  <a:lnTo>
                    <a:pt x="123952" y="400418"/>
                  </a:lnTo>
                  <a:lnTo>
                    <a:pt x="164973" y="410705"/>
                  </a:lnTo>
                  <a:lnTo>
                    <a:pt x="210934" y="414134"/>
                  </a:lnTo>
                  <a:lnTo>
                    <a:pt x="249415" y="412483"/>
                  </a:lnTo>
                  <a:lnTo>
                    <a:pt x="315201" y="398640"/>
                  </a:lnTo>
                  <a:lnTo>
                    <a:pt x="364985" y="371970"/>
                  </a:lnTo>
                  <a:lnTo>
                    <a:pt x="390512" y="337299"/>
                  </a:lnTo>
                  <a:lnTo>
                    <a:pt x="393560" y="318122"/>
                  </a:lnTo>
                  <a:lnTo>
                    <a:pt x="373240" y="280657"/>
                  </a:lnTo>
                  <a:lnTo>
                    <a:pt x="356222" y="274561"/>
                  </a:lnTo>
                  <a:lnTo>
                    <a:pt x="346316" y="273672"/>
                  </a:lnTo>
                  <a:lnTo>
                    <a:pt x="296024" y="293230"/>
                  </a:lnTo>
                  <a:lnTo>
                    <a:pt x="285483" y="300215"/>
                  </a:lnTo>
                  <a:lnTo>
                    <a:pt x="247129" y="316090"/>
                  </a:lnTo>
                  <a:lnTo>
                    <a:pt x="226428" y="318122"/>
                  </a:lnTo>
                  <a:lnTo>
                    <a:pt x="208775" y="316979"/>
                  </a:lnTo>
                  <a:lnTo>
                    <a:pt x="170053" y="299072"/>
                  </a:lnTo>
                  <a:lnTo>
                    <a:pt x="151765" y="259321"/>
                  </a:lnTo>
                  <a:lnTo>
                    <a:pt x="149987" y="241033"/>
                  </a:lnTo>
                  <a:lnTo>
                    <a:pt x="349110" y="240652"/>
                  </a:lnTo>
                  <a:lnTo>
                    <a:pt x="364985" y="239890"/>
                  </a:lnTo>
                  <a:lnTo>
                    <a:pt x="405498" y="220205"/>
                  </a:lnTo>
                  <a:lnTo>
                    <a:pt x="414134" y="185534"/>
                  </a:lnTo>
                  <a:close/>
                </a:path>
              </a:pathLst>
            </a:custGeom>
            <a:solidFill>
              <a:srgbClr val="FFFFFF"/>
            </a:solidFill>
          </p:spPr>
          <p:txBody>
            <a:bodyPr wrap="square" lIns="0" tIns="0" rIns="0" bIns="0" rtlCol="0"/>
            <a:lstStyle/>
            <a:p>
              <a:endParaRPr sz="1092"/>
            </a:p>
          </p:txBody>
        </p:sp>
        <p:sp>
          <p:nvSpPr>
            <p:cNvPr id="18" name="object 18"/>
            <p:cNvSpPr/>
            <p:nvPr/>
          </p:nvSpPr>
          <p:spPr>
            <a:xfrm>
              <a:off x="1519555" y="761968"/>
              <a:ext cx="197484" cy="71754"/>
            </a:xfrm>
            <a:prstGeom prst="rect">
              <a:avLst/>
            </a:prstGeom>
            <a:blipFill>
              <a:blip r:embed="rId8" cstate="print"/>
              <a:stretch>
                <a:fillRect/>
              </a:stretch>
            </a:blipFill>
          </p:spPr>
          <p:txBody>
            <a:bodyPr wrap="square" lIns="0" tIns="0" rIns="0" bIns="0" rtlCol="0"/>
            <a:lstStyle/>
            <a:p>
              <a:endParaRPr sz="1092"/>
            </a:p>
          </p:txBody>
        </p:sp>
        <p:sp>
          <p:nvSpPr>
            <p:cNvPr id="19" name="object 19"/>
            <p:cNvSpPr/>
            <p:nvPr/>
          </p:nvSpPr>
          <p:spPr>
            <a:xfrm>
              <a:off x="1758645" y="762996"/>
              <a:ext cx="414655" cy="321945"/>
            </a:xfrm>
            <a:custGeom>
              <a:avLst/>
              <a:gdLst/>
              <a:ahLst/>
              <a:cxnLst/>
              <a:rect l="l" t="t" r="r" b="b"/>
              <a:pathLst>
                <a:path w="414655" h="321944">
                  <a:moveTo>
                    <a:pt x="414261" y="264160"/>
                  </a:moveTo>
                  <a:lnTo>
                    <a:pt x="414007" y="253111"/>
                  </a:lnTo>
                  <a:lnTo>
                    <a:pt x="412864" y="229235"/>
                  </a:lnTo>
                  <a:lnTo>
                    <a:pt x="193294" y="229235"/>
                  </a:lnTo>
                  <a:lnTo>
                    <a:pt x="183261" y="228727"/>
                  </a:lnTo>
                  <a:lnTo>
                    <a:pt x="150114" y="201041"/>
                  </a:lnTo>
                  <a:lnTo>
                    <a:pt x="149352" y="192659"/>
                  </a:lnTo>
                  <a:lnTo>
                    <a:pt x="149987" y="184785"/>
                  </a:lnTo>
                  <a:lnTo>
                    <a:pt x="187325" y="156210"/>
                  </a:lnTo>
                  <a:lnTo>
                    <a:pt x="221742" y="149606"/>
                  </a:lnTo>
                  <a:lnTo>
                    <a:pt x="259194" y="138303"/>
                  </a:lnTo>
                  <a:lnTo>
                    <a:pt x="265544" y="135382"/>
                  </a:lnTo>
                  <a:lnTo>
                    <a:pt x="412864" y="135382"/>
                  </a:lnTo>
                  <a:lnTo>
                    <a:pt x="412737" y="46482"/>
                  </a:lnTo>
                  <a:lnTo>
                    <a:pt x="412102" y="28194"/>
                  </a:lnTo>
                  <a:lnTo>
                    <a:pt x="410070" y="10287"/>
                  </a:lnTo>
                  <a:lnTo>
                    <a:pt x="407911" y="0"/>
                  </a:lnTo>
                  <a:lnTo>
                    <a:pt x="217424" y="0"/>
                  </a:lnTo>
                  <a:lnTo>
                    <a:pt x="228727" y="508"/>
                  </a:lnTo>
                  <a:lnTo>
                    <a:pt x="238506" y="2032"/>
                  </a:lnTo>
                  <a:lnTo>
                    <a:pt x="266941" y="32639"/>
                  </a:lnTo>
                  <a:lnTo>
                    <a:pt x="261861" y="46609"/>
                  </a:lnTo>
                  <a:lnTo>
                    <a:pt x="246634" y="57785"/>
                  </a:lnTo>
                  <a:lnTo>
                    <a:pt x="221361" y="66167"/>
                  </a:lnTo>
                  <a:lnTo>
                    <a:pt x="186055" y="71755"/>
                  </a:lnTo>
                  <a:lnTo>
                    <a:pt x="162814" y="74295"/>
                  </a:lnTo>
                  <a:lnTo>
                    <a:pt x="116713" y="81153"/>
                  </a:lnTo>
                  <a:lnTo>
                    <a:pt x="55626" y="100076"/>
                  </a:lnTo>
                  <a:lnTo>
                    <a:pt x="19685" y="128905"/>
                  </a:lnTo>
                  <a:lnTo>
                    <a:pt x="2159" y="171704"/>
                  </a:lnTo>
                  <a:lnTo>
                    <a:pt x="0" y="198628"/>
                  </a:lnTo>
                  <a:lnTo>
                    <a:pt x="2159" y="226314"/>
                  </a:lnTo>
                  <a:lnTo>
                    <a:pt x="19558" y="271780"/>
                  </a:lnTo>
                  <a:lnTo>
                    <a:pt x="53848" y="303530"/>
                  </a:lnTo>
                  <a:lnTo>
                    <a:pt x="103124" y="319659"/>
                  </a:lnTo>
                  <a:lnTo>
                    <a:pt x="133096" y="321691"/>
                  </a:lnTo>
                  <a:lnTo>
                    <a:pt x="156464" y="320675"/>
                  </a:lnTo>
                  <a:lnTo>
                    <a:pt x="198628" y="312039"/>
                  </a:lnTo>
                  <a:lnTo>
                    <a:pt x="234442" y="295021"/>
                  </a:lnTo>
                  <a:lnTo>
                    <a:pt x="264655" y="269240"/>
                  </a:lnTo>
                  <a:lnTo>
                    <a:pt x="277609" y="253111"/>
                  </a:lnTo>
                  <a:lnTo>
                    <a:pt x="280784" y="267843"/>
                  </a:lnTo>
                  <a:lnTo>
                    <a:pt x="310121" y="306451"/>
                  </a:lnTo>
                  <a:lnTo>
                    <a:pt x="350634" y="314960"/>
                  </a:lnTo>
                  <a:lnTo>
                    <a:pt x="365239" y="314071"/>
                  </a:lnTo>
                  <a:lnTo>
                    <a:pt x="404990" y="294767"/>
                  </a:lnTo>
                  <a:lnTo>
                    <a:pt x="414261" y="264160"/>
                  </a:lnTo>
                  <a:close/>
                </a:path>
              </a:pathLst>
            </a:custGeom>
            <a:solidFill>
              <a:srgbClr val="FFFFFF"/>
            </a:solidFill>
          </p:spPr>
          <p:txBody>
            <a:bodyPr wrap="square" lIns="0" tIns="0" rIns="0" bIns="0" rtlCol="0"/>
            <a:lstStyle/>
            <a:p>
              <a:endParaRPr sz="1092"/>
            </a:p>
          </p:txBody>
        </p:sp>
        <p:sp>
          <p:nvSpPr>
            <p:cNvPr id="20" name="object 20"/>
            <p:cNvSpPr/>
            <p:nvPr/>
          </p:nvSpPr>
          <p:spPr>
            <a:xfrm>
              <a:off x="1951990" y="898112"/>
              <a:ext cx="219583" cy="93852"/>
            </a:xfrm>
            <a:prstGeom prst="rect">
              <a:avLst/>
            </a:prstGeom>
            <a:blipFill>
              <a:blip r:embed="rId9" cstate="print"/>
              <a:stretch>
                <a:fillRect/>
              </a:stretch>
            </a:blipFill>
          </p:spPr>
          <p:txBody>
            <a:bodyPr wrap="square" lIns="0" tIns="0" rIns="0" bIns="0" rtlCol="0"/>
            <a:lstStyle/>
            <a:p>
              <a:endParaRPr sz="1092"/>
            </a:p>
          </p:txBody>
        </p:sp>
        <p:sp>
          <p:nvSpPr>
            <p:cNvPr id="21" name="object 21"/>
            <p:cNvSpPr/>
            <p:nvPr/>
          </p:nvSpPr>
          <p:spPr>
            <a:xfrm>
              <a:off x="1790395" y="670553"/>
              <a:ext cx="730250" cy="405130"/>
            </a:xfrm>
            <a:custGeom>
              <a:avLst/>
              <a:gdLst/>
              <a:ahLst/>
              <a:cxnLst/>
              <a:rect l="l" t="t" r="r" b="b"/>
              <a:pathLst>
                <a:path w="730250" h="405130">
                  <a:moveTo>
                    <a:pt x="376161" y="92443"/>
                  </a:moveTo>
                  <a:lnTo>
                    <a:pt x="355587" y="52451"/>
                  </a:lnTo>
                  <a:lnTo>
                    <a:pt x="320916" y="25400"/>
                  </a:lnTo>
                  <a:lnTo>
                    <a:pt x="272529" y="8509"/>
                  </a:lnTo>
                  <a:lnTo>
                    <a:pt x="231762" y="2159"/>
                  </a:lnTo>
                  <a:lnTo>
                    <a:pt x="186436" y="0"/>
                  </a:lnTo>
                  <a:lnTo>
                    <a:pt x="147066" y="1778"/>
                  </a:lnTo>
                  <a:lnTo>
                    <a:pt x="79756" y="15875"/>
                  </a:lnTo>
                  <a:lnTo>
                    <a:pt x="29210" y="43307"/>
                  </a:lnTo>
                  <a:lnTo>
                    <a:pt x="3302" y="78994"/>
                  </a:lnTo>
                  <a:lnTo>
                    <a:pt x="0" y="99555"/>
                  </a:lnTo>
                  <a:lnTo>
                    <a:pt x="889" y="108826"/>
                  </a:lnTo>
                  <a:lnTo>
                    <a:pt x="26670" y="143243"/>
                  </a:lnTo>
                  <a:lnTo>
                    <a:pt x="42545" y="146799"/>
                  </a:lnTo>
                  <a:lnTo>
                    <a:pt x="58928" y="145021"/>
                  </a:lnTo>
                  <a:lnTo>
                    <a:pt x="75565" y="139687"/>
                  </a:lnTo>
                  <a:lnTo>
                    <a:pt x="92710" y="130797"/>
                  </a:lnTo>
                  <a:lnTo>
                    <a:pt x="110363" y="118351"/>
                  </a:lnTo>
                  <a:lnTo>
                    <a:pt x="116967" y="112890"/>
                  </a:lnTo>
                  <a:lnTo>
                    <a:pt x="121920" y="109080"/>
                  </a:lnTo>
                  <a:lnTo>
                    <a:pt x="159131" y="94475"/>
                  </a:lnTo>
                  <a:lnTo>
                    <a:pt x="185674" y="92443"/>
                  </a:lnTo>
                  <a:lnTo>
                    <a:pt x="376161" y="92443"/>
                  </a:lnTo>
                  <a:close/>
                </a:path>
                <a:path w="730250" h="405130">
                  <a:moveTo>
                    <a:pt x="730224" y="57531"/>
                  </a:moveTo>
                  <a:lnTo>
                    <a:pt x="729462" y="47879"/>
                  </a:lnTo>
                  <a:lnTo>
                    <a:pt x="702424" y="17272"/>
                  </a:lnTo>
                  <a:lnTo>
                    <a:pt x="682104" y="14478"/>
                  </a:lnTo>
                  <a:lnTo>
                    <a:pt x="457695" y="14478"/>
                  </a:lnTo>
                  <a:lnTo>
                    <a:pt x="447027" y="15240"/>
                  </a:lnTo>
                  <a:lnTo>
                    <a:pt x="413372" y="39370"/>
                  </a:lnTo>
                  <a:lnTo>
                    <a:pt x="410197" y="57531"/>
                  </a:lnTo>
                  <a:lnTo>
                    <a:pt x="410959" y="67564"/>
                  </a:lnTo>
                  <a:lnTo>
                    <a:pt x="436867" y="99428"/>
                  </a:lnTo>
                  <a:lnTo>
                    <a:pt x="456298" y="102349"/>
                  </a:lnTo>
                  <a:lnTo>
                    <a:pt x="485381" y="102349"/>
                  </a:lnTo>
                  <a:lnTo>
                    <a:pt x="485508" y="296532"/>
                  </a:lnTo>
                  <a:lnTo>
                    <a:pt x="492493" y="346443"/>
                  </a:lnTo>
                  <a:lnTo>
                    <a:pt x="513956" y="380098"/>
                  </a:lnTo>
                  <a:lnTo>
                    <a:pt x="553072" y="398640"/>
                  </a:lnTo>
                  <a:lnTo>
                    <a:pt x="613143" y="404736"/>
                  </a:lnTo>
                  <a:lnTo>
                    <a:pt x="641718" y="403720"/>
                  </a:lnTo>
                  <a:lnTo>
                    <a:pt x="686295" y="395592"/>
                  </a:lnTo>
                  <a:lnTo>
                    <a:pt x="723239" y="367525"/>
                  </a:lnTo>
                  <a:lnTo>
                    <a:pt x="730224" y="336918"/>
                  </a:lnTo>
                  <a:lnTo>
                    <a:pt x="729589" y="325234"/>
                  </a:lnTo>
                  <a:lnTo>
                    <a:pt x="704710" y="293357"/>
                  </a:lnTo>
                  <a:lnTo>
                    <a:pt x="671309" y="290690"/>
                  </a:lnTo>
                  <a:lnTo>
                    <a:pt x="662292" y="290182"/>
                  </a:lnTo>
                  <a:lnTo>
                    <a:pt x="634225" y="256146"/>
                  </a:lnTo>
                  <a:lnTo>
                    <a:pt x="634225" y="102349"/>
                  </a:lnTo>
                  <a:lnTo>
                    <a:pt x="683501" y="102349"/>
                  </a:lnTo>
                  <a:lnTo>
                    <a:pt x="723239" y="84061"/>
                  </a:lnTo>
                  <a:lnTo>
                    <a:pt x="730224" y="57531"/>
                  </a:lnTo>
                  <a:close/>
                </a:path>
              </a:pathLst>
            </a:custGeom>
            <a:solidFill>
              <a:srgbClr val="FFFFFF"/>
            </a:solidFill>
          </p:spPr>
          <p:txBody>
            <a:bodyPr wrap="square" lIns="0" tIns="0" rIns="0" bIns="0" rtlCol="0"/>
            <a:lstStyle/>
            <a:p>
              <a:endParaRPr sz="1092"/>
            </a:p>
          </p:txBody>
        </p:sp>
        <p:sp>
          <p:nvSpPr>
            <p:cNvPr id="22" name="object 22"/>
            <p:cNvSpPr/>
            <p:nvPr/>
          </p:nvSpPr>
          <p:spPr>
            <a:xfrm>
              <a:off x="2275840" y="548354"/>
              <a:ext cx="148844" cy="136398"/>
            </a:xfrm>
            <a:prstGeom prst="rect">
              <a:avLst/>
            </a:prstGeom>
            <a:blipFill>
              <a:blip r:embed="rId10" cstate="print"/>
              <a:stretch>
                <a:fillRect/>
              </a:stretch>
            </a:blipFill>
          </p:spPr>
          <p:txBody>
            <a:bodyPr wrap="square" lIns="0" tIns="0" rIns="0" bIns="0" rtlCol="0"/>
            <a:lstStyle/>
            <a:p>
              <a:endParaRPr sz="1092"/>
            </a:p>
          </p:txBody>
        </p:sp>
        <p:sp>
          <p:nvSpPr>
            <p:cNvPr id="23" name="object 23"/>
            <p:cNvSpPr/>
            <p:nvPr/>
          </p:nvSpPr>
          <p:spPr>
            <a:xfrm>
              <a:off x="2587675" y="542537"/>
              <a:ext cx="624840" cy="542290"/>
            </a:xfrm>
            <a:custGeom>
              <a:avLst/>
              <a:gdLst/>
              <a:ahLst/>
              <a:cxnLst/>
              <a:rect l="l" t="t" r="r" b="b"/>
              <a:pathLst>
                <a:path w="624839" h="542290">
                  <a:moveTo>
                    <a:pt x="148971" y="77216"/>
                  </a:moveTo>
                  <a:lnTo>
                    <a:pt x="137668" y="32131"/>
                  </a:lnTo>
                  <a:lnTo>
                    <a:pt x="105410" y="5207"/>
                  </a:lnTo>
                  <a:lnTo>
                    <a:pt x="74803" y="0"/>
                  </a:lnTo>
                  <a:lnTo>
                    <a:pt x="31115" y="12065"/>
                  </a:lnTo>
                  <a:lnTo>
                    <a:pt x="5080" y="46736"/>
                  </a:lnTo>
                  <a:lnTo>
                    <a:pt x="0" y="79375"/>
                  </a:lnTo>
                  <a:lnTo>
                    <a:pt x="0" y="453504"/>
                  </a:lnTo>
                  <a:lnTo>
                    <a:pt x="11303" y="500240"/>
                  </a:lnTo>
                  <a:lnTo>
                    <a:pt x="43688" y="527672"/>
                  </a:lnTo>
                  <a:lnTo>
                    <a:pt x="74803" y="532879"/>
                  </a:lnTo>
                  <a:lnTo>
                    <a:pt x="90932" y="531609"/>
                  </a:lnTo>
                  <a:lnTo>
                    <a:pt x="128778" y="511924"/>
                  </a:lnTo>
                  <a:lnTo>
                    <a:pt x="147701" y="472427"/>
                  </a:lnTo>
                  <a:lnTo>
                    <a:pt x="148971" y="455663"/>
                  </a:lnTo>
                  <a:lnTo>
                    <a:pt x="148971" y="77216"/>
                  </a:lnTo>
                  <a:close/>
                </a:path>
                <a:path w="624839" h="542290">
                  <a:moveTo>
                    <a:pt x="624446" y="313550"/>
                  </a:moveTo>
                  <a:lnTo>
                    <a:pt x="623684" y="297167"/>
                  </a:lnTo>
                  <a:lnTo>
                    <a:pt x="622795" y="291579"/>
                  </a:lnTo>
                  <a:lnTo>
                    <a:pt x="360299" y="291579"/>
                  </a:lnTo>
                  <a:lnTo>
                    <a:pt x="361950" y="275577"/>
                  </a:lnTo>
                  <a:lnTo>
                    <a:pt x="378841" y="238747"/>
                  </a:lnTo>
                  <a:lnTo>
                    <a:pt x="425323" y="219697"/>
                  </a:lnTo>
                  <a:lnTo>
                    <a:pt x="596252" y="219697"/>
                  </a:lnTo>
                  <a:lnTo>
                    <a:pt x="594601" y="216776"/>
                  </a:lnTo>
                  <a:lnTo>
                    <a:pt x="558406" y="175387"/>
                  </a:lnTo>
                  <a:lnTo>
                    <a:pt x="525132" y="152146"/>
                  </a:lnTo>
                  <a:lnTo>
                    <a:pt x="488175" y="136779"/>
                  </a:lnTo>
                  <a:lnTo>
                    <a:pt x="448043" y="129032"/>
                  </a:lnTo>
                  <a:lnTo>
                    <a:pt x="426720" y="128016"/>
                  </a:lnTo>
                  <a:lnTo>
                    <a:pt x="379349" y="131572"/>
                  </a:lnTo>
                  <a:lnTo>
                    <a:pt x="337185" y="142113"/>
                  </a:lnTo>
                  <a:lnTo>
                    <a:pt x="300228" y="159766"/>
                  </a:lnTo>
                  <a:lnTo>
                    <a:pt x="268478" y="184404"/>
                  </a:lnTo>
                  <a:lnTo>
                    <a:pt x="243078" y="215125"/>
                  </a:lnTo>
                  <a:lnTo>
                    <a:pt x="224917" y="250939"/>
                  </a:lnTo>
                  <a:lnTo>
                    <a:pt x="213995" y="291960"/>
                  </a:lnTo>
                  <a:lnTo>
                    <a:pt x="210312" y="338061"/>
                  </a:lnTo>
                  <a:lnTo>
                    <a:pt x="213868" y="382638"/>
                  </a:lnTo>
                  <a:lnTo>
                    <a:pt x="224536" y="422262"/>
                  </a:lnTo>
                  <a:lnTo>
                    <a:pt x="242316" y="457060"/>
                  </a:lnTo>
                  <a:lnTo>
                    <a:pt x="267335" y="487032"/>
                  </a:lnTo>
                  <a:lnTo>
                    <a:pt x="298323" y="511162"/>
                  </a:lnTo>
                  <a:lnTo>
                    <a:pt x="334264" y="528307"/>
                  </a:lnTo>
                  <a:lnTo>
                    <a:pt x="375285" y="538721"/>
                  </a:lnTo>
                  <a:lnTo>
                    <a:pt x="421259" y="542150"/>
                  </a:lnTo>
                  <a:lnTo>
                    <a:pt x="459727" y="540372"/>
                  </a:lnTo>
                  <a:lnTo>
                    <a:pt x="525513" y="526656"/>
                  </a:lnTo>
                  <a:lnTo>
                    <a:pt x="575297" y="499986"/>
                  </a:lnTo>
                  <a:lnTo>
                    <a:pt x="600824" y="465315"/>
                  </a:lnTo>
                  <a:lnTo>
                    <a:pt x="603999" y="446138"/>
                  </a:lnTo>
                  <a:lnTo>
                    <a:pt x="583552" y="408673"/>
                  </a:lnTo>
                  <a:lnTo>
                    <a:pt x="566534" y="402450"/>
                  </a:lnTo>
                  <a:lnTo>
                    <a:pt x="556628" y="401688"/>
                  </a:lnTo>
                  <a:lnTo>
                    <a:pt x="506463" y="421246"/>
                  </a:lnTo>
                  <a:lnTo>
                    <a:pt x="495795" y="428231"/>
                  </a:lnTo>
                  <a:lnTo>
                    <a:pt x="457441" y="444106"/>
                  </a:lnTo>
                  <a:lnTo>
                    <a:pt x="436740" y="446138"/>
                  </a:lnTo>
                  <a:lnTo>
                    <a:pt x="419100" y="444995"/>
                  </a:lnTo>
                  <a:lnTo>
                    <a:pt x="380365" y="427088"/>
                  </a:lnTo>
                  <a:lnTo>
                    <a:pt x="362077" y="387337"/>
                  </a:lnTo>
                  <a:lnTo>
                    <a:pt x="360299" y="369049"/>
                  </a:lnTo>
                  <a:lnTo>
                    <a:pt x="559422" y="368668"/>
                  </a:lnTo>
                  <a:lnTo>
                    <a:pt x="575297" y="367906"/>
                  </a:lnTo>
                  <a:lnTo>
                    <a:pt x="615810" y="348221"/>
                  </a:lnTo>
                  <a:lnTo>
                    <a:pt x="624446" y="313550"/>
                  </a:lnTo>
                  <a:close/>
                </a:path>
              </a:pathLst>
            </a:custGeom>
            <a:solidFill>
              <a:srgbClr val="FFFFFF"/>
            </a:solidFill>
          </p:spPr>
          <p:txBody>
            <a:bodyPr wrap="square" lIns="0" tIns="0" rIns="0" bIns="0" rtlCol="0"/>
            <a:lstStyle/>
            <a:p>
              <a:endParaRPr sz="1092"/>
            </a:p>
          </p:txBody>
        </p:sp>
        <p:sp>
          <p:nvSpPr>
            <p:cNvPr id="24" name="object 24"/>
            <p:cNvSpPr/>
            <p:nvPr/>
          </p:nvSpPr>
          <p:spPr>
            <a:xfrm>
              <a:off x="3013074" y="761968"/>
              <a:ext cx="197485" cy="71881"/>
            </a:xfrm>
            <a:prstGeom prst="rect">
              <a:avLst/>
            </a:prstGeom>
            <a:blipFill>
              <a:blip r:embed="rId11" cstate="print"/>
              <a:stretch>
                <a:fillRect/>
              </a:stretch>
            </a:blipFill>
          </p:spPr>
          <p:txBody>
            <a:bodyPr wrap="square" lIns="0" tIns="0" rIns="0" bIns="0" rtlCol="0"/>
            <a:lstStyle/>
            <a:p>
              <a:endParaRPr sz="1092"/>
            </a:p>
          </p:txBody>
        </p:sp>
        <p:sp>
          <p:nvSpPr>
            <p:cNvPr id="25" name="object 25"/>
            <p:cNvSpPr/>
            <p:nvPr/>
          </p:nvSpPr>
          <p:spPr>
            <a:xfrm>
              <a:off x="3252127" y="762996"/>
              <a:ext cx="414655" cy="321945"/>
            </a:xfrm>
            <a:custGeom>
              <a:avLst/>
              <a:gdLst/>
              <a:ahLst/>
              <a:cxnLst/>
              <a:rect l="l" t="t" r="r" b="b"/>
              <a:pathLst>
                <a:path w="414654" h="321944">
                  <a:moveTo>
                    <a:pt x="414261" y="264160"/>
                  </a:moveTo>
                  <a:lnTo>
                    <a:pt x="414007" y="253111"/>
                  </a:lnTo>
                  <a:lnTo>
                    <a:pt x="412864" y="229235"/>
                  </a:lnTo>
                  <a:lnTo>
                    <a:pt x="193294" y="229235"/>
                  </a:lnTo>
                  <a:lnTo>
                    <a:pt x="155829" y="214630"/>
                  </a:lnTo>
                  <a:lnTo>
                    <a:pt x="149352" y="192659"/>
                  </a:lnTo>
                  <a:lnTo>
                    <a:pt x="149987" y="184785"/>
                  </a:lnTo>
                  <a:lnTo>
                    <a:pt x="187452" y="156337"/>
                  </a:lnTo>
                  <a:lnTo>
                    <a:pt x="221742" y="149606"/>
                  </a:lnTo>
                  <a:lnTo>
                    <a:pt x="259207" y="138303"/>
                  </a:lnTo>
                  <a:lnTo>
                    <a:pt x="265557" y="135382"/>
                  </a:lnTo>
                  <a:lnTo>
                    <a:pt x="412864" y="135382"/>
                  </a:lnTo>
                  <a:lnTo>
                    <a:pt x="412737" y="46482"/>
                  </a:lnTo>
                  <a:lnTo>
                    <a:pt x="412102" y="28321"/>
                  </a:lnTo>
                  <a:lnTo>
                    <a:pt x="410197" y="10287"/>
                  </a:lnTo>
                  <a:lnTo>
                    <a:pt x="407911" y="0"/>
                  </a:lnTo>
                  <a:lnTo>
                    <a:pt x="217551" y="0"/>
                  </a:lnTo>
                  <a:lnTo>
                    <a:pt x="228727" y="508"/>
                  </a:lnTo>
                  <a:lnTo>
                    <a:pt x="238633" y="2032"/>
                  </a:lnTo>
                  <a:lnTo>
                    <a:pt x="266941" y="32639"/>
                  </a:lnTo>
                  <a:lnTo>
                    <a:pt x="261874" y="46609"/>
                  </a:lnTo>
                  <a:lnTo>
                    <a:pt x="246634" y="57785"/>
                  </a:lnTo>
                  <a:lnTo>
                    <a:pt x="221361" y="66167"/>
                  </a:lnTo>
                  <a:lnTo>
                    <a:pt x="186055" y="71755"/>
                  </a:lnTo>
                  <a:lnTo>
                    <a:pt x="156972" y="74930"/>
                  </a:lnTo>
                  <a:lnTo>
                    <a:pt x="116713" y="81153"/>
                  </a:lnTo>
                  <a:lnTo>
                    <a:pt x="55626" y="100076"/>
                  </a:lnTo>
                  <a:lnTo>
                    <a:pt x="19685" y="128905"/>
                  </a:lnTo>
                  <a:lnTo>
                    <a:pt x="2159" y="171704"/>
                  </a:lnTo>
                  <a:lnTo>
                    <a:pt x="0" y="198628"/>
                  </a:lnTo>
                  <a:lnTo>
                    <a:pt x="2159" y="226314"/>
                  </a:lnTo>
                  <a:lnTo>
                    <a:pt x="19558" y="271780"/>
                  </a:lnTo>
                  <a:lnTo>
                    <a:pt x="53975" y="303530"/>
                  </a:lnTo>
                  <a:lnTo>
                    <a:pt x="103124" y="319659"/>
                  </a:lnTo>
                  <a:lnTo>
                    <a:pt x="133096" y="321691"/>
                  </a:lnTo>
                  <a:lnTo>
                    <a:pt x="156591" y="320675"/>
                  </a:lnTo>
                  <a:lnTo>
                    <a:pt x="198628" y="312039"/>
                  </a:lnTo>
                  <a:lnTo>
                    <a:pt x="234442" y="295021"/>
                  </a:lnTo>
                  <a:lnTo>
                    <a:pt x="264668" y="269240"/>
                  </a:lnTo>
                  <a:lnTo>
                    <a:pt x="277609" y="253111"/>
                  </a:lnTo>
                  <a:lnTo>
                    <a:pt x="280911" y="267843"/>
                  </a:lnTo>
                  <a:lnTo>
                    <a:pt x="310121" y="306451"/>
                  </a:lnTo>
                  <a:lnTo>
                    <a:pt x="350634" y="314960"/>
                  </a:lnTo>
                  <a:lnTo>
                    <a:pt x="365239" y="314071"/>
                  </a:lnTo>
                  <a:lnTo>
                    <a:pt x="405117" y="294767"/>
                  </a:lnTo>
                  <a:lnTo>
                    <a:pt x="414261" y="264160"/>
                  </a:lnTo>
                  <a:close/>
                </a:path>
              </a:pathLst>
            </a:custGeom>
            <a:solidFill>
              <a:srgbClr val="FFFFFF"/>
            </a:solidFill>
          </p:spPr>
          <p:txBody>
            <a:bodyPr wrap="square" lIns="0" tIns="0" rIns="0" bIns="0" rtlCol="0"/>
            <a:lstStyle/>
            <a:p>
              <a:endParaRPr sz="1092"/>
            </a:p>
          </p:txBody>
        </p:sp>
        <p:sp>
          <p:nvSpPr>
            <p:cNvPr id="26" name="object 26"/>
            <p:cNvSpPr/>
            <p:nvPr/>
          </p:nvSpPr>
          <p:spPr>
            <a:xfrm>
              <a:off x="3445510" y="898112"/>
              <a:ext cx="219582" cy="93852"/>
            </a:xfrm>
            <a:prstGeom prst="rect">
              <a:avLst/>
            </a:prstGeom>
            <a:blipFill>
              <a:blip r:embed="rId12" cstate="print"/>
              <a:stretch>
                <a:fillRect/>
              </a:stretch>
            </a:blipFill>
          </p:spPr>
          <p:txBody>
            <a:bodyPr wrap="square" lIns="0" tIns="0" rIns="0" bIns="0" rtlCol="0"/>
            <a:lstStyle/>
            <a:p>
              <a:endParaRPr sz="1092"/>
            </a:p>
          </p:txBody>
        </p:sp>
        <p:sp>
          <p:nvSpPr>
            <p:cNvPr id="27" name="object 27"/>
            <p:cNvSpPr/>
            <p:nvPr/>
          </p:nvSpPr>
          <p:spPr>
            <a:xfrm>
              <a:off x="3283877" y="670553"/>
              <a:ext cx="751205" cy="405130"/>
            </a:xfrm>
            <a:custGeom>
              <a:avLst/>
              <a:gdLst/>
              <a:ahLst/>
              <a:cxnLst/>
              <a:rect l="l" t="t" r="r" b="b"/>
              <a:pathLst>
                <a:path w="751204" h="405130">
                  <a:moveTo>
                    <a:pt x="376161" y="92443"/>
                  </a:moveTo>
                  <a:lnTo>
                    <a:pt x="355714" y="52451"/>
                  </a:lnTo>
                  <a:lnTo>
                    <a:pt x="320916" y="25400"/>
                  </a:lnTo>
                  <a:lnTo>
                    <a:pt x="272529" y="8636"/>
                  </a:lnTo>
                  <a:lnTo>
                    <a:pt x="231775" y="2159"/>
                  </a:lnTo>
                  <a:lnTo>
                    <a:pt x="186436" y="0"/>
                  </a:lnTo>
                  <a:lnTo>
                    <a:pt x="147066" y="1778"/>
                  </a:lnTo>
                  <a:lnTo>
                    <a:pt x="79756" y="15875"/>
                  </a:lnTo>
                  <a:lnTo>
                    <a:pt x="29210" y="43307"/>
                  </a:lnTo>
                  <a:lnTo>
                    <a:pt x="3302" y="78994"/>
                  </a:lnTo>
                  <a:lnTo>
                    <a:pt x="0" y="99555"/>
                  </a:lnTo>
                  <a:lnTo>
                    <a:pt x="889" y="108826"/>
                  </a:lnTo>
                  <a:lnTo>
                    <a:pt x="26670" y="143370"/>
                  </a:lnTo>
                  <a:lnTo>
                    <a:pt x="42545" y="146799"/>
                  </a:lnTo>
                  <a:lnTo>
                    <a:pt x="58928" y="145021"/>
                  </a:lnTo>
                  <a:lnTo>
                    <a:pt x="75565" y="139687"/>
                  </a:lnTo>
                  <a:lnTo>
                    <a:pt x="92710" y="130797"/>
                  </a:lnTo>
                  <a:lnTo>
                    <a:pt x="110363" y="118478"/>
                  </a:lnTo>
                  <a:lnTo>
                    <a:pt x="117094" y="112890"/>
                  </a:lnTo>
                  <a:lnTo>
                    <a:pt x="122047" y="109080"/>
                  </a:lnTo>
                  <a:lnTo>
                    <a:pt x="159258" y="94475"/>
                  </a:lnTo>
                  <a:lnTo>
                    <a:pt x="185801" y="92443"/>
                  </a:lnTo>
                  <a:lnTo>
                    <a:pt x="376161" y="92443"/>
                  </a:lnTo>
                  <a:close/>
                </a:path>
                <a:path w="751204" h="405130">
                  <a:moveTo>
                    <a:pt x="751179" y="111112"/>
                  </a:moveTo>
                  <a:lnTo>
                    <a:pt x="600443" y="111112"/>
                  </a:lnTo>
                  <a:lnTo>
                    <a:pt x="600443" y="78486"/>
                  </a:lnTo>
                  <a:lnTo>
                    <a:pt x="590791" y="33909"/>
                  </a:lnTo>
                  <a:lnTo>
                    <a:pt x="547230" y="6985"/>
                  </a:lnTo>
                  <a:lnTo>
                    <a:pt x="530720" y="5969"/>
                  </a:lnTo>
                  <a:lnTo>
                    <a:pt x="489953" y="16764"/>
                  </a:lnTo>
                  <a:lnTo>
                    <a:pt x="466458" y="48387"/>
                  </a:lnTo>
                  <a:lnTo>
                    <a:pt x="462013" y="325107"/>
                  </a:lnTo>
                  <a:lnTo>
                    <a:pt x="463283" y="342506"/>
                  </a:lnTo>
                  <a:lnTo>
                    <a:pt x="482333" y="383400"/>
                  </a:lnTo>
                  <a:lnTo>
                    <a:pt x="520814" y="403466"/>
                  </a:lnTo>
                  <a:lnTo>
                    <a:pt x="537324" y="404863"/>
                  </a:lnTo>
                  <a:lnTo>
                    <a:pt x="553580" y="403466"/>
                  </a:lnTo>
                  <a:lnTo>
                    <a:pt x="592061" y="383654"/>
                  </a:lnTo>
                  <a:lnTo>
                    <a:pt x="611238" y="344030"/>
                  </a:lnTo>
                  <a:lnTo>
                    <a:pt x="612508" y="327266"/>
                  </a:lnTo>
                  <a:lnTo>
                    <a:pt x="612508" y="240398"/>
                  </a:lnTo>
                  <a:lnTo>
                    <a:pt x="613524" y="221856"/>
                  </a:lnTo>
                  <a:lnTo>
                    <a:pt x="628510" y="180708"/>
                  </a:lnTo>
                  <a:lnTo>
                    <a:pt x="667499" y="155816"/>
                  </a:lnTo>
                  <a:lnTo>
                    <a:pt x="705599" y="144005"/>
                  </a:lnTo>
                  <a:lnTo>
                    <a:pt x="721220" y="137274"/>
                  </a:lnTo>
                  <a:lnTo>
                    <a:pt x="733793" y="129781"/>
                  </a:lnTo>
                  <a:lnTo>
                    <a:pt x="743686" y="121399"/>
                  </a:lnTo>
                  <a:lnTo>
                    <a:pt x="751179" y="111112"/>
                  </a:lnTo>
                  <a:close/>
                </a:path>
              </a:pathLst>
            </a:custGeom>
            <a:solidFill>
              <a:srgbClr val="FFFFFF"/>
            </a:solidFill>
          </p:spPr>
          <p:txBody>
            <a:bodyPr wrap="square" lIns="0" tIns="0" rIns="0" bIns="0" rtlCol="0"/>
            <a:lstStyle/>
            <a:p>
              <a:endParaRPr sz="1092"/>
            </a:p>
          </p:txBody>
        </p:sp>
        <p:sp>
          <p:nvSpPr>
            <p:cNvPr id="28" name="object 28"/>
            <p:cNvSpPr/>
            <p:nvPr/>
          </p:nvSpPr>
          <p:spPr>
            <a:xfrm>
              <a:off x="3884422" y="673322"/>
              <a:ext cx="159765" cy="108076"/>
            </a:xfrm>
            <a:prstGeom prst="rect">
              <a:avLst/>
            </a:prstGeom>
            <a:blipFill>
              <a:blip r:embed="rId13" cstate="print"/>
              <a:stretch>
                <a:fillRect/>
              </a:stretch>
            </a:blipFill>
          </p:spPr>
          <p:txBody>
            <a:bodyPr wrap="square" lIns="0" tIns="0" rIns="0" bIns="0" rtlCol="0"/>
            <a:lstStyle/>
            <a:p>
              <a:endParaRPr sz="1092"/>
            </a:p>
          </p:txBody>
        </p:sp>
        <p:sp>
          <p:nvSpPr>
            <p:cNvPr id="29" name="object 29"/>
            <p:cNvSpPr/>
            <p:nvPr/>
          </p:nvSpPr>
          <p:spPr>
            <a:xfrm>
              <a:off x="4065918" y="676395"/>
              <a:ext cx="402590" cy="399415"/>
            </a:xfrm>
            <a:custGeom>
              <a:avLst/>
              <a:gdLst/>
              <a:ahLst/>
              <a:cxnLst/>
              <a:rect l="l" t="t" r="r" b="b"/>
              <a:pathLst>
                <a:path w="402589" h="399415">
                  <a:moveTo>
                    <a:pt x="402336" y="192392"/>
                  </a:moveTo>
                  <a:lnTo>
                    <a:pt x="401320" y="145656"/>
                  </a:lnTo>
                  <a:lnTo>
                    <a:pt x="396367" y="99428"/>
                  </a:lnTo>
                  <a:lnTo>
                    <a:pt x="387477" y="70485"/>
                  </a:lnTo>
                  <a:lnTo>
                    <a:pt x="135509" y="70485"/>
                  </a:lnTo>
                  <a:lnTo>
                    <a:pt x="134112" y="54356"/>
                  </a:lnTo>
                  <a:lnTo>
                    <a:pt x="117348" y="18161"/>
                  </a:lnTo>
                  <a:lnTo>
                    <a:pt x="82550" y="1143"/>
                  </a:lnTo>
                  <a:lnTo>
                    <a:pt x="67183" y="0"/>
                  </a:lnTo>
                  <a:lnTo>
                    <a:pt x="26670" y="10541"/>
                  </a:lnTo>
                  <a:lnTo>
                    <a:pt x="4318" y="42037"/>
                  </a:lnTo>
                  <a:lnTo>
                    <a:pt x="0" y="74041"/>
                  </a:lnTo>
                  <a:lnTo>
                    <a:pt x="0" y="319138"/>
                  </a:lnTo>
                  <a:lnTo>
                    <a:pt x="11049" y="366001"/>
                  </a:lnTo>
                  <a:lnTo>
                    <a:pt x="43053" y="393560"/>
                  </a:lnTo>
                  <a:lnTo>
                    <a:pt x="73787" y="398894"/>
                  </a:lnTo>
                  <a:lnTo>
                    <a:pt x="89662" y="397624"/>
                  </a:lnTo>
                  <a:lnTo>
                    <a:pt x="127762" y="377685"/>
                  </a:lnTo>
                  <a:lnTo>
                    <a:pt x="146812" y="337934"/>
                  </a:lnTo>
                  <a:lnTo>
                    <a:pt x="148209" y="192392"/>
                  </a:lnTo>
                  <a:lnTo>
                    <a:pt x="148971" y="175374"/>
                  </a:lnTo>
                  <a:lnTo>
                    <a:pt x="161798" y="135369"/>
                  </a:lnTo>
                  <a:lnTo>
                    <a:pt x="203708" y="116192"/>
                  </a:lnTo>
                  <a:lnTo>
                    <a:pt x="216535" y="117208"/>
                  </a:lnTo>
                  <a:lnTo>
                    <a:pt x="227330" y="120383"/>
                  </a:lnTo>
                  <a:lnTo>
                    <a:pt x="251333" y="155943"/>
                  </a:lnTo>
                  <a:lnTo>
                    <a:pt x="254127" y="313550"/>
                  </a:lnTo>
                  <a:lnTo>
                    <a:pt x="255397" y="333108"/>
                  </a:lnTo>
                  <a:lnTo>
                    <a:pt x="273558" y="376923"/>
                  </a:lnTo>
                  <a:lnTo>
                    <a:pt x="312166" y="397624"/>
                  </a:lnTo>
                  <a:lnTo>
                    <a:pt x="329311" y="398894"/>
                  </a:lnTo>
                  <a:lnTo>
                    <a:pt x="346202" y="397624"/>
                  </a:lnTo>
                  <a:lnTo>
                    <a:pt x="383794" y="377304"/>
                  </a:lnTo>
                  <a:lnTo>
                    <a:pt x="401193" y="333362"/>
                  </a:lnTo>
                  <a:lnTo>
                    <a:pt x="402336" y="313550"/>
                  </a:lnTo>
                  <a:lnTo>
                    <a:pt x="402336" y="192392"/>
                  </a:lnTo>
                  <a:close/>
                </a:path>
              </a:pathLst>
            </a:custGeom>
            <a:solidFill>
              <a:srgbClr val="FFFFFF"/>
            </a:solidFill>
          </p:spPr>
          <p:txBody>
            <a:bodyPr wrap="square" lIns="0" tIns="0" rIns="0" bIns="0" rtlCol="0"/>
            <a:lstStyle/>
            <a:p>
              <a:endParaRPr sz="1092"/>
            </a:p>
          </p:txBody>
        </p:sp>
        <p:sp>
          <p:nvSpPr>
            <p:cNvPr id="30" name="object 30"/>
            <p:cNvSpPr/>
            <p:nvPr/>
          </p:nvSpPr>
          <p:spPr>
            <a:xfrm>
              <a:off x="4201541" y="673322"/>
              <a:ext cx="251968" cy="73278"/>
            </a:xfrm>
            <a:prstGeom prst="rect">
              <a:avLst/>
            </a:prstGeom>
            <a:blipFill>
              <a:blip r:embed="rId14" cstate="print"/>
              <a:stretch>
                <a:fillRect/>
              </a:stretch>
            </a:blipFill>
          </p:spPr>
          <p:txBody>
            <a:bodyPr wrap="square" lIns="0" tIns="0" rIns="0" bIns="0" rtlCol="0"/>
            <a:lstStyle/>
            <a:p>
              <a:endParaRPr sz="1092"/>
            </a:p>
          </p:txBody>
        </p:sp>
        <p:sp>
          <p:nvSpPr>
            <p:cNvPr id="31" name="object 31"/>
            <p:cNvSpPr/>
            <p:nvPr/>
          </p:nvSpPr>
          <p:spPr>
            <a:xfrm>
              <a:off x="4555490" y="511778"/>
              <a:ext cx="134238" cy="139700"/>
            </a:xfrm>
            <a:prstGeom prst="rect">
              <a:avLst/>
            </a:prstGeom>
            <a:blipFill>
              <a:blip r:embed="rId15" cstate="print"/>
              <a:stretch>
                <a:fillRect/>
              </a:stretch>
            </a:blipFill>
          </p:spPr>
          <p:txBody>
            <a:bodyPr wrap="square" lIns="0" tIns="0" rIns="0" bIns="0" rtlCol="0"/>
            <a:lstStyle/>
            <a:p>
              <a:endParaRPr sz="1092"/>
            </a:p>
          </p:txBody>
        </p:sp>
        <p:sp>
          <p:nvSpPr>
            <p:cNvPr id="32" name="object 32"/>
            <p:cNvSpPr/>
            <p:nvPr/>
          </p:nvSpPr>
          <p:spPr>
            <a:xfrm>
              <a:off x="4547489" y="676395"/>
              <a:ext cx="634365" cy="400050"/>
            </a:xfrm>
            <a:custGeom>
              <a:avLst/>
              <a:gdLst/>
              <a:ahLst/>
              <a:cxnLst/>
              <a:rect l="l" t="t" r="r" b="b"/>
              <a:pathLst>
                <a:path w="634364" h="400050">
                  <a:moveTo>
                    <a:pt x="148971" y="79108"/>
                  </a:moveTo>
                  <a:lnTo>
                    <a:pt x="137668" y="34163"/>
                  </a:lnTo>
                  <a:lnTo>
                    <a:pt x="105410" y="6858"/>
                  </a:lnTo>
                  <a:lnTo>
                    <a:pt x="74803" y="1651"/>
                  </a:lnTo>
                  <a:lnTo>
                    <a:pt x="31115" y="13843"/>
                  </a:lnTo>
                  <a:lnTo>
                    <a:pt x="5080" y="48514"/>
                  </a:lnTo>
                  <a:lnTo>
                    <a:pt x="0" y="81267"/>
                  </a:lnTo>
                  <a:lnTo>
                    <a:pt x="0" y="319900"/>
                  </a:lnTo>
                  <a:lnTo>
                    <a:pt x="11303" y="366382"/>
                  </a:lnTo>
                  <a:lnTo>
                    <a:pt x="43815" y="394068"/>
                  </a:lnTo>
                  <a:lnTo>
                    <a:pt x="74803" y="399529"/>
                  </a:lnTo>
                  <a:lnTo>
                    <a:pt x="90805" y="398132"/>
                  </a:lnTo>
                  <a:lnTo>
                    <a:pt x="128778" y="378447"/>
                  </a:lnTo>
                  <a:lnTo>
                    <a:pt x="147701" y="338696"/>
                  </a:lnTo>
                  <a:lnTo>
                    <a:pt x="148971" y="321932"/>
                  </a:lnTo>
                  <a:lnTo>
                    <a:pt x="148971" y="79108"/>
                  </a:lnTo>
                  <a:close/>
                </a:path>
                <a:path w="634364" h="400050">
                  <a:moveTo>
                    <a:pt x="633971" y="192392"/>
                  </a:moveTo>
                  <a:lnTo>
                    <a:pt x="633717" y="167373"/>
                  </a:lnTo>
                  <a:lnTo>
                    <a:pt x="632955" y="145656"/>
                  </a:lnTo>
                  <a:lnTo>
                    <a:pt x="631812" y="127241"/>
                  </a:lnTo>
                  <a:lnTo>
                    <a:pt x="630542" y="116192"/>
                  </a:lnTo>
                  <a:lnTo>
                    <a:pt x="630161" y="112255"/>
                  </a:lnTo>
                  <a:lnTo>
                    <a:pt x="627875" y="99428"/>
                  </a:lnTo>
                  <a:lnTo>
                    <a:pt x="624954" y="87363"/>
                  </a:lnTo>
                  <a:lnTo>
                    <a:pt x="621398" y="76200"/>
                  </a:lnTo>
                  <a:lnTo>
                    <a:pt x="618985" y="70485"/>
                  </a:lnTo>
                  <a:lnTo>
                    <a:pt x="367157" y="70485"/>
                  </a:lnTo>
                  <a:lnTo>
                    <a:pt x="365760" y="54356"/>
                  </a:lnTo>
                  <a:lnTo>
                    <a:pt x="348869" y="18161"/>
                  </a:lnTo>
                  <a:lnTo>
                    <a:pt x="314198" y="1143"/>
                  </a:lnTo>
                  <a:lnTo>
                    <a:pt x="298831" y="0"/>
                  </a:lnTo>
                  <a:lnTo>
                    <a:pt x="258318" y="10541"/>
                  </a:lnTo>
                  <a:lnTo>
                    <a:pt x="235966" y="42037"/>
                  </a:lnTo>
                  <a:lnTo>
                    <a:pt x="231648" y="74041"/>
                  </a:lnTo>
                  <a:lnTo>
                    <a:pt x="231648" y="319265"/>
                  </a:lnTo>
                  <a:lnTo>
                    <a:pt x="242697" y="366001"/>
                  </a:lnTo>
                  <a:lnTo>
                    <a:pt x="274701" y="393560"/>
                  </a:lnTo>
                  <a:lnTo>
                    <a:pt x="305308" y="398894"/>
                  </a:lnTo>
                  <a:lnTo>
                    <a:pt x="321310" y="397624"/>
                  </a:lnTo>
                  <a:lnTo>
                    <a:pt x="359410" y="377685"/>
                  </a:lnTo>
                  <a:lnTo>
                    <a:pt x="378460" y="337934"/>
                  </a:lnTo>
                  <a:lnTo>
                    <a:pt x="379857" y="192392"/>
                  </a:lnTo>
                  <a:lnTo>
                    <a:pt x="380619" y="175374"/>
                  </a:lnTo>
                  <a:lnTo>
                    <a:pt x="393446" y="135369"/>
                  </a:lnTo>
                  <a:lnTo>
                    <a:pt x="435356" y="116192"/>
                  </a:lnTo>
                  <a:lnTo>
                    <a:pt x="448183" y="117208"/>
                  </a:lnTo>
                  <a:lnTo>
                    <a:pt x="458978" y="120383"/>
                  </a:lnTo>
                  <a:lnTo>
                    <a:pt x="482968" y="156070"/>
                  </a:lnTo>
                  <a:lnTo>
                    <a:pt x="485762" y="313550"/>
                  </a:lnTo>
                  <a:lnTo>
                    <a:pt x="486905" y="333108"/>
                  </a:lnTo>
                  <a:lnTo>
                    <a:pt x="505066" y="376923"/>
                  </a:lnTo>
                  <a:lnTo>
                    <a:pt x="543801" y="397624"/>
                  </a:lnTo>
                  <a:lnTo>
                    <a:pt x="560819" y="398894"/>
                  </a:lnTo>
                  <a:lnTo>
                    <a:pt x="577837" y="397624"/>
                  </a:lnTo>
                  <a:lnTo>
                    <a:pt x="615429" y="377304"/>
                  </a:lnTo>
                  <a:lnTo>
                    <a:pt x="632701" y="333362"/>
                  </a:lnTo>
                  <a:lnTo>
                    <a:pt x="633971" y="313550"/>
                  </a:lnTo>
                  <a:lnTo>
                    <a:pt x="633971" y="192392"/>
                  </a:lnTo>
                  <a:close/>
                </a:path>
              </a:pathLst>
            </a:custGeom>
            <a:solidFill>
              <a:srgbClr val="FFFFFF"/>
            </a:solidFill>
          </p:spPr>
          <p:txBody>
            <a:bodyPr wrap="square" lIns="0" tIns="0" rIns="0" bIns="0" rtlCol="0"/>
            <a:lstStyle/>
            <a:p>
              <a:endParaRPr sz="1092"/>
            </a:p>
          </p:txBody>
        </p:sp>
        <p:sp>
          <p:nvSpPr>
            <p:cNvPr id="33" name="object 33"/>
            <p:cNvSpPr/>
            <p:nvPr/>
          </p:nvSpPr>
          <p:spPr>
            <a:xfrm>
              <a:off x="4914773" y="673322"/>
              <a:ext cx="251840" cy="73278"/>
            </a:xfrm>
            <a:prstGeom prst="rect">
              <a:avLst/>
            </a:prstGeom>
            <a:blipFill>
              <a:blip r:embed="rId16" cstate="print"/>
              <a:stretch>
                <a:fillRect/>
              </a:stretch>
            </a:blipFill>
          </p:spPr>
          <p:txBody>
            <a:bodyPr wrap="square" lIns="0" tIns="0" rIns="0" bIns="0" rtlCol="0"/>
            <a:lstStyle/>
            <a:p>
              <a:endParaRPr sz="1092"/>
            </a:p>
          </p:txBody>
        </p:sp>
        <p:sp>
          <p:nvSpPr>
            <p:cNvPr id="34" name="object 34"/>
            <p:cNvSpPr/>
            <p:nvPr/>
          </p:nvSpPr>
          <p:spPr>
            <a:xfrm>
              <a:off x="5250560" y="1078198"/>
              <a:ext cx="384810" cy="146685"/>
            </a:xfrm>
            <a:custGeom>
              <a:avLst/>
              <a:gdLst/>
              <a:ahLst/>
              <a:cxnLst/>
              <a:rect l="l" t="t" r="r" b="b"/>
              <a:pathLst>
                <a:path w="384810" h="146684">
                  <a:moveTo>
                    <a:pt x="61079" y="258"/>
                  </a:moveTo>
                  <a:lnTo>
                    <a:pt x="52824" y="258"/>
                  </a:lnTo>
                  <a:lnTo>
                    <a:pt x="41522" y="1274"/>
                  </a:lnTo>
                  <a:lnTo>
                    <a:pt x="7995" y="23371"/>
                  </a:lnTo>
                  <a:lnTo>
                    <a:pt x="-132" y="54486"/>
                  </a:lnTo>
                  <a:lnTo>
                    <a:pt x="2915" y="74424"/>
                  </a:lnTo>
                  <a:lnTo>
                    <a:pt x="27679" y="108078"/>
                  </a:lnTo>
                  <a:lnTo>
                    <a:pt x="76065" y="132589"/>
                  </a:lnTo>
                  <a:lnTo>
                    <a:pt x="143119" y="145034"/>
                  </a:lnTo>
                  <a:lnTo>
                    <a:pt x="183250" y="146558"/>
                  </a:lnTo>
                  <a:lnTo>
                    <a:pt x="235319" y="143637"/>
                  </a:lnTo>
                  <a:lnTo>
                    <a:pt x="280276" y="135002"/>
                  </a:lnTo>
                  <a:lnTo>
                    <a:pt x="318121" y="120524"/>
                  </a:lnTo>
                  <a:lnTo>
                    <a:pt x="372602" y="73916"/>
                  </a:lnTo>
                  <a:lnTo>
                    <a:pt x="384667" y="50930"/>
                  </a:lnTo>
                  <a:lnTo>
                    <a:pt x="186679" y="50930"/>
                  </a:lnTo>
                  <a:lnTo>
                    <a:pt x="176900" y="50549"/>
                  </a:lnTo>
                  <a:lnTo>
                    <a:pt x="130420" y="36325"/>
                  </a:lnTo>
                  <a:lnTo>
                    <a:pt x="99432" y="16641"/>
                  </a:lnTo>
                  <a:lnTo>
                    <a:pt x="91051" y="11561"/>
                  </a:lnTo>
                  <a:lnTo>
                    <a:pt x="83685" y="7751"/>
                  </a:lnTo>
                  <a:lnTo>
                    <a:pt x="77335" y="4830"/>
                  </a:lnTo>
                  <a:lnTo>
                    <a:pt x="69207" y="1782"/>
                  </a:lnTo>
                  <a:lnTo>
                    <a:pt x="61079" y="258"/>
                  </a:lnTo>
                  <a:close/>
                </a:path>
              </a:pathLst>
            </a:custGeom>
            <a:solidFill>
              <a:srgbClr val="FFFFFF"/>
            </a:solidFill>
          </p:spPr>
          <p:txBody>
            <a:bodyPr wrap="square" lIns="0" tIns="0" rIns="0" bIns="0" rtlCol="0"/>
            <a:lstStyle/>
            <a:p>
              <a:endParaRPr sz="1092"/>
            </a:p>
          </p:txBody>
        </p:sp>
        <p:sp>
          <p:nvSpPr>
            <p:cNvPr id="35" name="object 35"/>
            <p:cNvSpPr/>
            <p:nvPr/>
          </p:nvSpPr>
          <p:spPr>
            <a:xfrm>
              <a:off x="5437378" y="1014063"/>
              <a:ext cx="216535" cy="114807"/>
            </a:xfrm>
            <a:prstGeom prst="rect">
              <a:avLst/>
            </a:prstGeom>
            <a:blipFill>
              <a:blip r:embed="rId17" cstate="print"/>
              <a:stretch>
                <a:fillRect/>
              </a:stretch>
            </a:blipFill>
          </p:spPr>
          <p:txBody>
            <a:bodyPr wrap="square" lIns="0" tIns="0" rIns="0" bIns="0" rtlCol="0"/>
            <a:lstStyle/>
            <a:p>
              <a:endParaRPr sz="1092"/>
            </a:p>
          </p:txBody>
        </p:sp>
        <p:sp>
          <p:nvSpPr>
            <p:cNvPr id="36" name="object 36"/>
            <p:cNvSpPr/>
            <p:nvPr/>
          </p:nvSpPr>
          <p:spPr>
            <a:xfrm>
              <a:off x="5239511" y="673322"/>
              <a:ext cx="414655" cy="376555"/>
            </a:xfrm>
            <a:custGeom>
              <a:avLst/>
              <a:gdLst/>
              <a:ahLst/>
              <a:cxnLst/>
              <a:rect l="l" t="t" r="r" b="b"/>
              <a:pathLst>
                <a:path w="414654" h="376555">
                  <a:moveTo>
                    <a:pt x="159502" y="268"/>
                  </a:moveTo>
                  <a:lnTo>
                    <a:pt x="94226" y="13349"/>
                  </a:lnTo>
                  <a:lnTo>
                    <a:pt x="43427" y="52464"/>
                  </a:lnTo>
                  <a:lnTo>
                    <a:pt x="10789" y="113676"/>
                  </a:lnTo>
                  <a:lnTo>
                    <a:pt x="2534" y="150886"/>
                  </a:lnTo>
                  <a:lnTo>
                    <a:pt x="-132" y="192668"/>
                  </a:lnTo>
                  <a:lnTo>
                    <a:pt x="2661" y="232291"/>
                  </a:lnTo>
                  <a:lnTo>
                    <a:pt x="25520" y="299219"/>
                  </a:lnTo>
                  <a:lnTo>
                    <a:pt x="70096" y="348493"/>
                  </a:lnTo>
                  <a:lnTo>
                    <a:pt x="130801" y="373639"/>
                  </a:lnTo>
                  <a:lnTo>
                    <a:pt x="166741" y="376814"/>
                  </a:lnTo>
                  <a:lnTo>
                    <a:pt x="182996" y="376306"/>
                  </a:lnTo>
                  <a:lnTo>
                    <a:pt x="226175" y="367924"/>
                  </a:lnTo>
                  <a:lnTo>
                    <a:pt x="261099" y="349509"/>
                  </a:lnTo>
                  <a:lnTo>
                    <a:pt x="271005" y="341001"/>
                  </a:lnTo>
                  <a:lnTo>
                    <a:pt x="414258" y="341001"/>
                  </a:lnTo>
                  <a:lnTo>
                    <a:pt x="414258" y="270898"/>
                  </a:lnTo>
                  <a:lnTo>
                    <a:pt x="207761" y="270898"/>
                  </a:lnTo>
                  <a:lnTo>
                    <a:pt x="193537" y="269628"/>
                  </a:lnTo>
                  <a:lnTo>
                    <a:pt x="155692" y="239657"/>
                  </a:lnTo>
                  <a:lnTo>
                    <a:pt x="147183" y="192668"/>
                  </a:lnTo>
                  <a:lnTo>
                    <a:pt x="148072" y="172730"/>
                  </a:lnTo>
                  <a:lnTo>
                    <a:pt x="162677" y="132091"/>
                  </a:lnTo>
                  <a:lnTo>
                    <a:pt x="207761" y="111771"/>
                  </a:lnTo>
                  <a:lnTo>
                    <a:pt x="414258" y="111771"/>
                  </a:lnTo>
                  <a:lnTo>
                    <a:pt x="414258" y="83451"/>
                  </a:lnTo>
                  <a:lnTo>
                    <a:pt x="413242" y="63894"/>
                  </a:lnTo>
                  <a:lnTo>
                    <a:pt x="412226" y="58306"/>
                  </a:lnTo>
                  <a:lnTo>
                    <a:pt x="283070" y="58306"/>
                  </a:lnTo>
                  <a:lnTo>
                    <a:pt x="272021" y="44590"/>
                  </a:lnTo>
                  <a:lnTo>
                    <a:pt x="231509" y="14619"/>
                  </a:lnTo>
                  <a:lnTo>
                    <a:pt x="179568" y="1157"/>
                  </a:lnTo>
                  <a:lnTo>
                    <a:pt x="159502" y="268"/>
                  </a:lnTo>
                  <a:close/>
                </a:path>
              </a:pathLst>
            </a:custGeom>
            <a:solidFill>
              <a:srgbClr val="FFFFFF"/>
            </a:solidFill>
          </p:spPr>
          <p:txBody>
            <a:bodyPr wrap="square" lIns="0" tIns="0" rIns="0" bIns="0" rtlCol="0"/>
            <a:lstStyle/>
            <a:p>
              <a:endParaRPr sz="1092"/>
            </a:p>
          </p:txBody>
        </p:sp>
        <p:sp>
          <p:nvSpPr>
            <p:cNvPr id="37" name="object 37"/>
            <p:cNvSpPr/>
            <p:nvPr/>
          </p:nvSpPr>
          <p:spPr>
            <a:xfrm>
              <a:off x="5447410" y="784828"/>
              <a:ext cx="206501" cy="159131"/>
            </a:xfrm>
            <a:prstGeom prst="rect">
              <a:avLst/>
            </a:prstGeom>
            <a:blipFill>
              <a:blip r:embed="rId18" cstate="print"/>
              <a:stretch>
                <a:fillRect/>
              </a:stretch>
            </a:blipFill>
          </p:spPr>
          <p:txBody>
            <a:bodyPr wrap="square" lIns="0" tIns="0" rIns="0" bIns="0" rtlCol="0"/>
            <a:lstStyle/>
            <a:p>
              <a:endParaRPr sz="1092"/>
            </a:p>
          </p:txBody>
        </p:sp>
        <p:sp>
          <p:nvSpPr>
            <p:cNvPr id="38" name="object 38"/>
            <p:cNvSpPr/>
            <p:nvPr/>
          </p:nvSpPr>
          <p:spPr>
            <a:xfrm>
              <a:off x="5522722" y="675481"/>
              <a:ext cx="129539" cy="55880"/>
            </a:xfrm>
            <a:custGeom>
              <a:avLst/>
              <a:gdLst/>
              <a:ahLst/>
              <a:cxnLst/>
              <a:rect l="l" t="t" r="r" b="b"/>
              <a:pathLst>
                <a:path w="129539" h="55879">
                  <a:moveTo>
                    <a:pt x="64628" y="268"/>
                  </a:moveTo>
                  <a:lnTo>
                    <a:pt x="23354" y="13857"/>
                  </a:lnTo>
                  <a:lnTo>
                    <a:pt x="-139" y="56147"/>
                  </a:lnTo>
                  <a:lnTo>
                    <a:pt x="129016" y="56147"/>
                  </a:lnTo>
                  <a:lnTo>
                    <a:pt x="115173" y="19699"/>
                  </a:lnTo>
                  <a:lnTo>
                    <a:pt x="80757" y="1411"/>
                  </a:lnTo>
                  <a:lnTo>
                    <a:pt x="64628" y="268"/>
                  </a:lnTo>
                  <a:close/>
                </a:path>
              </a:pathLst>
            </a:custGeom>
            <a:solidFill>
              <a:srgbClr val="FFFFFF"/>
            </a:solidFill>
          </p:spPr>
          <p:txBody>
            <a:bodyPr wrap="square" lIns="0" tIns="0" rIns="0" bIns="0" rtlCol="0"/>
            <a:lstStyle/>
            <a:p>
              <a:endParaRPr sz="1092"/>
            </a:p>
          </p:txBody>
        </p:sp>
        <p:sp>
          <p:nvSpPr>
            <p:cNvPr id="39" name="object 39"/>
            <p:cNvSpPr/>
            <p:nvPr/>
          </p:nvSpPr>
          <p:spPr>
            <a:xfrm>
              <a:off x="1350264" y="1203929"/>
              <a:ext cx="207224" cy="237488"/>
            </a:xfrm>
            <a:prstGeom prst="rect">
              <a:avLst/>
            </a:prstGeom>
            <a:blipFill>
              <a:blip r:embed="rId19" cstate="print"/>
              <a:stretch>
                <a:fillRect/>
              </a:stretch>
            </a:blipFill>
          </p:spPr>
          <p:txBody>
            <a:bodyPr wrap="square" lIns="0" tIns="0" rIns="0" bIns="0" rtlCol="0"/>
            <a:lstStyle/>
            <a:p>
              <a:endParaRPr sz="1092"/>
            </a:p>
          </p:txBody>
        </p:sp>
        <p:sp>
          <p:nvSpPr>
            <p:cNvPr id="40" name="object 40"/>
            <p:cNvSpPr/>
            <p:nvPr/>
          </p:nvSpPr>
          <p:spPr>
            <a:xfrm>
              <a:off x="1621536" y="1274032"/>
              <a:ext cx="146259" cy="173482"/>
            </a:xfrm>
            <a:prstGeom prst="rect">
              <a:avLst/>
            </a:prstGeom>
            <a:blipFill>
              <a:blip r:embed="rId20" cstate="print"/>
              <a:stretch>
                <a:fillRect/>
              </a:stretch>
            </a:blipFill>
          </p:spPr>
          <p:txBody>
            <a:bodyPr wrap="square" lIns="0" tIns="0" rIns="0" bIns="0" rtlCol="0"/>
            <a:lstStyle/>
            <a:p>
              <a:endParaRPr sz="1092"/>
            </a:p>
          </p:txBody>
        </p:sp>
        <p:sp>
          <p:nvSpPr>
            <p:cNvPr id="41" name="object 41"/>
            <p:cNvSpPr/>
            <p:nvPr/>
          </p:nvSpPr>
          <p:spPr>
            <a:xfrm>
              <a:off x="1834896" y="1274032"/>
              <a:ext cx="173685" cy="173482"/>
            </a:xfrm>
            <a:prstGeom prst="rect">
              <a:avLst/>
            </a:prstGeom>
            <a:blipFill>
              <a:blip r:embed="rId21" cstate="print"/>
              <a:stretch>
                <a:fillRect/>
              </a:stretch>
            </a:blipFill>
          </p:spPr>
          <p:txBody>
            <a:bodyPr wrap="square" lIns="0" tIns="0" rIns="0" bIns="0" rtlCol="0"/>
            <a:lstStyle/>
            <a:p>
              <a:endParaRPr sz="1092"/>
            </a:p>
          </p:txBody>
        </p:sp>
        <p:sp>
          <p:nvSpPr>
            <p:cNvPr id="42" name="object 42"/>
            <p:cNvSpPr/>
            <p:nvPr/>
          </p:nvSpPr>
          <p:spPr>
            <a:xfrm>
              <a:off x="2081784" y="1274032"/>
              <a:ext cx="146247" cy="167386"/>
            </a:xfrm>
            <a:prstGeom prst="rect">
              <a:avLst/>
            </a:prstGeom>
            <a:blipFill>
              <a:blip r:embed="rId22" cstate="print"/>
              <a:stretch>
                <a:fillRect/>
              </a:stretch>
            </a:blipFill>
          </p:spPr>
          <p:txBody>
            <a:bodyPr wrap="square" lIns="0" tIns="0" rIns="0" bIns="0" rtlCol="0"/>
            <a:lstStyle/>
            <a:p>
              <a:endParaRPr sz="1092"/>
            </a:p>
          </p:txBody>
        </p:sp>
        <p:sp>
          <p:nvSpPr>
            <p:cNvPr id="43" name="object 43"/>
            <p:cNvSpPr/>
            <p:nvPr/>
          </p:nvSpPr>
          <p:spPr>
            <a:xfrm>
              <a:off x="2289047" y="1274032"/>
              <a:ext cx="179769" cy="170434"/>
            </a:xfrm>
            <a:prstGeom prst="rect">
              <a:avLst/>
            </a:prstGeom>
            <a:blipFill>
              <a:blip r:embed="rId23" cstate="print"/>
              <a:stretch>
                <a:fillRect/>
              </a:stretch>
            </a:blipFill>
          </p:spPr>
          <p:txBody>
            <a:bodyPr wrap="square" lIns="0" tIns="0" rIns="0" bIns="0" rtlCol="0"/>
            <a:lstStyle/>
            <a:p>
              <a:endParaRPr sz="1092"/>
            </a:p>
          </p:txBody>
        </p:sp>
        <p:sp>
          <p:nvSpPr>
            <p:cNvPr id="44" name="object 44"/>
            <p:cNvSpPr/>
            <p:nvPr/>
          </p:nvSpPr>
          <p:spPr>
            <a:xfrm>
              <a:off x="2588006" y="1188434"/>
              <a:ext cx="42545" cy="45720"/>
            </a:xfrm>
            <a:custGeom>
              <a:avLst/>
              <a:gdLst/>
              <a:ahLst/>
              <a:cxnLst/>
              <a:rect l="l" t="t" r="r" b="b"/>
              <a:pathLst>
                <a:path w="42544" h="45719">
                  <a:moveTo>
                    <a:pt x="26984" y="255"/>
                  </a:moveTo>
                  <a:lnTo>
                    <a:pt x="15047" y="255"/>
                  </a:lnTo>
                  <a:lnTo>
                    <a:pt x="10094" y="2541"/>
                  </a:lnTo>
                  <a:lnTo>
                    <a:pt x="1966" y="11812"/>
                  </a:lnTo>
                  <a:lnTo>
                    <a:pt x="-65" y="17146"/>
                  </a:lnTo>
                  <a:lnTo>
                    <a:pt x="-65" y="29084"/>
                  </a:lnTo>
                  <a:lnTo>
                    <a:pt x="1966" y="34290"/>
                  </a:lnTo>
                  <a:lnTo>
                    <a:pt x="10094" y="43434"/>
                  </a:lnTo>
                  <a:lnTo>
                    <a:pt x="15047" y="45720"/>
                  </a:lnTo>
                  <a:lnTo>
                    <a:pt x="26730" y="45720"/>
                  </a:lnTo>
                  <a:lnTo>
                    <a:pt x="31810" y="43307"/>
                  </a:lnTo>
                  <a:lnTo>
                    <a:pt x="40065" y="33782"/>
                  </a:lnTo>
                  <a:lnTo>
                    <a:pt x="42097" y="28195"/>
                  </a:lnTo>
                  <a:lnTo>
                    <a:pt x="42097" y="16130"/>
                  </a:lnTo>
                  <a:lnTo>
                    <a:pt x="40065" y="11050"/>
                  </a:lnTo>
                  <a:lnTo>
                    <a:pt x="32064" y="2414"/>
                  </a:lnTo>
                  <a:lnTo>
                    <a:pt x="26984" y="255"/>
                  </a:lnTo>
                  <a:close/>
                </a:path>
              </a:pathLst>
            </a:custGeom>
            <a:solidFill>
              <a:srgbClr val="FFFFFF"/>
            </a:solidFill>
          </p:spPr>
          <p:txBody>
            <a:bodyPr wrap="square" lIns="0" tIns="0" rIns="0" bIns="0" rtlCol="0"/>
            <a:lstStyle/>
            <a:p>
              <a:endParaRPr sz="1092"/>
            </a:p>
          </p:txBody>
        </p:sp>
        <p:sp>
          <p:nvSpPr>
            <p:cNvPr id="45" name="object 45"/>
            <p:cNvSpPr/>
            <p:nvPr/>
          </p:nvSpPr>
          <p:spPr>
            <a:xfrm>
              <a:off x="2538984" y="1273651"/>
              <a:ext cx="79375" cy="173482"/>
            </a:xfrm>
            <a:prstGeom prst="rect">
              <a:avLst/>
            </a:prstGeom>
            <a:blipFill>
              <a:blip r:embed="rId24" cstate="print"/>
              <a:stretch>
                <a:fillRect/>
              </a:stretch>
            </a:blipFill>
          </p:spPr>
          <p:txBody>
            <a:bodyPr wrap="square" lIns="0" tIns="0" rIns="0" bIns="0" rtlCol="0"/>
            <a:lstStyle/>
            <a:p>
              <a:endParaRPr sz="1092"/>
            </a:p>
          </p:txBody>
        </p:sp>
        <p:sp>
          <p:nvSpPr>
            <p:cNvPr id="46" name="object 46"/>
            <p:cNvSpPr/>
            <p:nvPr/>
          </p:nvSpPr>
          <p:spPr>
            <a:xfrm>
              <a:off x="2691384" y="1274032"/>
              <a:ext cx="179759" cy="170434"/>
            </a:xfrm>
            <a:prstGeom prst="rect">
              <a:avLst/>
            </a:prstGeom>
            <a:blipFill>
              <a:blip r:embed="rId25" cstate="print"/>
              <a:stretch>
                <a:fillRect/>
              </a:stretch>
            </a:blipFill>
          </p:spPr>
          <p:txBody>
            <a:bodyPr wrap="square" lIns="0" tIns="0" rIns="0" bIns="0" rtlCol="0"/>
            <a:lstStyle/>
            <a:p>
              <a:endParaRPr sz="1092"/>
            </a:p>
          </p:txBody>
        </p:sp>
        <p:sp>
          <p:nvSpPr>
            <p:cNvPr id="47" name="object 47"/>
            <p:cNvSpPr/>
            <p:nvPr/>
          </p:nvSpPr>
          <p:spPr>
            <a:xfrm>
              <a:off x="2929127" y="1274032"/>
              <a:ext cx="179753" cy="243586"/>
            </a:xfrm>
            <a:prstGeom prst="rect">
              <a:avLst/>
            </a:prstGeom>
            <a:blipFill>
              <a:blip r:embed="rId26" cstate="print"/>
              <a:stretch>
                <a:fillRect/>
              </a:stretch>
            </a:blipFill>
          </p:spPr>
          <p:txBody>
            <a:bodyPr wrap="square" lIns="0" tIns="0" rIns="0" bIns="0" rtlCol="0"/>
            <a:lstStyle/>
            <a:p>
              <a:endParaRPr sz="1092"/>
            </a:p>
          </p:txBody>
        </p:sp>
        <p:sp>
          <p:nvSpPr>
            <p:cNvPr id="48" name="object 48"/>
            <p:cNvSpPr/>
            <p:nvPr/>
          </p:nvSpPr>
          <p:spPr>
            <a:xfrm>
              <a:off x="3246119" y="1182338"/>
              <a:ext cx="228600" cy="334645"/>
            </a:xfrm>
            <a:prstGeom prst="rect">
              <a:avLst/>
            </a:prstGeom>
            <a:blipFill>
              <a:blip r:embed="rId27" cstate="print"/>
              <a:stretch>
                <a:fillRect/>
              </a:stretch>
            </a:blipFill>
          </p:spPr>
          <p:txBody>
            <a:bodyPr wrap="square" lIns="0" tIns="0" rIns="0" bIns="0" rtlCol="0"/>
            <a:lstStyle/>
            <a:p>
              <a:endParaRPr sz="1092"/>
            </a:p>
          </p:txBody>
        </p:sp>
        <p:sp>
          <p:nvSpPr>
            <p:cNvPr id="49" name="object 49"/>
            <p:cNvSpPr/>
            <p:nvPr/>
          </p:nvSpPr>
          <p:spPr>
            <a:xfrm>
              <a:off x="3477767" y="1274032"/>
              <a:ext cx="164499" cy="173482"/>
            </a:xfrm>
            <a:prstGeom prst="rect">
              <a:avLst/>
            </a:prstGeom>
            <a:blipFill>
              <a:blip r:embed="rId28" cstate="print"/>
              <a:stretch>
                <a:fillRect/>
              </a:stretch>
            </a:blipFill>
          </p:spPr>
          <p:txBody>
            <a:bodyPr wrap="square" lIns="0" tIns="0" rIns="0" bIns="0" rtlCol="0"/>
            <a:lstStyle/>
            <a:p>
              <a:endParaRPr sz="1092"/>
            </a:p>
          </p:txBody>
        </p:sp>
        <p:sp>
          <p:nvSpPr>
            <p:cNvPr id="50" name="object 50"/>
            <p:cNvSpPr/>
            <p:nvPr/>
          </p:nvSpPr>
          <p:spPr>
            <a:xfrm>
              <a:off x="3715511" y="1274032"/>
              <a:ext cx="146206" cy="167386"/>
            </a:xfrm>
            <a:prstGeom prst="rect">
              <a:avLst/>
            </a:prstGeom>
            <a:blipFill>
              <a:blip r:embed="rId29" cstate="print"/>
              <a:stretch>
                <a:fillRect/>
              </a:stretch>
            </a:blipFill>
          </p:spPr>
          <p:txBody>
            <a:bodyPr wrap="square" lIns="0" tIns="0" rIns="0" bIns="0" rtlCol="0"/>
            <a:lstStyle/>
            <a:p>
              <a:endParaRPr sz="1092"/>
            </a:p>
          </p:txBody>
        </p:sp>
        <p:sp>
          <p:nvSpPr>
            <p:cNvPr id="51" name="object 51"/>
            <p:cNvSpPr/>
            <p:nvPr/>
          </p:nvSpPr>
          <p:spPr>
            <a:xfrm>
              <a:off x="4035552" y="1203929"/>
              <a:ext cx="207156" cy="237488"/>
            </a:xfrm>
            <a:prstGeom prst="rect">
              <a:avLst/>
            </a:prstGeom>
            <a:blipFill>
              <a:blip r:embed="rId30" cstate="print"/>
              <a:stretch>
                <a:fillRect/>
              </a:stretch>
            </a:blipFill>
          </p:spPr>
          <p:txBody>
            <a:bodyPr wrap="square" lIns="0" tIns="0" rIns="0" bIns="0" rtlCol="0"/>
            <a:lstStyle/>
            <a:p>
              <a:endParaRPr sz="1092"/>
            </a:p>
          </p:txBody>
        </p:sp>
        <p:sp>
          <p:nvSpPr>
            <p:cNvPr id="52" name="object 52"/>
            <p:cNvSpPr/>
            <p:nvPr/>
          </p:nvSpPr>
          <p:spPr>
            <a:xfrm>
              <a:off x="4357369" y="1188434"/>
              <a:ext cx="43815" cy="45720"/>
            </a:xfrm>
            <a:custGeom>
              <a:avLst/>
              <a:gdLst/>
              <a:ahLst/>
              <a:cxnLst/>
              <a:rect l="l" t="t" r="r" b="b"/>
              <a:pathLst>
                <a:path w="43814" h="45719">
                  <a:moveTo>
                    <a:pt x="27956" y="255"/>
                  </a:moveTo>
                  <a:lnTo>
                    <a:pt x="15510" y="255"/>
                  </a:lnTo>
                  <a:lnTo>
                    <a:pt x="10557" y="2541"/>
                  </a:lnTo>
                  <a:lnTo>
                    <a:pt x="2048" y="11812"/>
                  </a:lnTo>
                  <a:lnTo>
                    <a:pt x="-110" y="17146"/>
                  </a:lnTo>
                  <a:lnTo>
                    <a:pt x="-110" y="29084"/>
                  </a:lnTo>
                  <a:lnTo>
                    <a:pt x="2048" y="34290"/>
                  </a:lnTo>
                  <a:lnTo>
                    <a:pt x="10557" y="43434"/>
                  </a:lnTo>
                  <a:lnTo>
                    <a:pt x="15510" y="45720"/>
                  </a:lnTo>
                  <a:lnTo>
                    <a:pt x="27702" y="45720"/>
                  </a:lnTo>
                  <a:lnTo>
                    <a:pt x="32909" y="43307"/>
                  </a:lnTo>
                  <a:lnTo>
                    <a:pt x="41417" y="33782"/>
                  </a:lnTo>
                  <a:lnTo>
                    <a:pt x="43576" y="28195"/>
                  </a:lnTo>
                  <a:lnTo>
                    <a:pt x="43576" y="16130"/>
                  </a:lnTo>
                  <a:lnTo>
                    <a:pt x="41544" y="11050"/>
                  </a:lnTo>
                  <a:lnTo>
                    <a:pt x="33290" y="2414"/>
                  </a:lnTo>
                  <a:lnTo>
                    <a:pt x="27956" y="255"/>
                  </a:lnTo>
                  <a:close/>
                </a:path>
              </a:pathLst>
            </a:custGeom>
            <a:solidFill>
              <a:srgbClr val="FFFFFF"/>
            </a:solidFill>
          </p:spPr>
          <p:txBody>
            <a:bodyPr wrap="square" lIns="0" tIns="0" rIns="0" bIns="0" rtlCol="0"/>
            <a:lstStyle/>
            <a:p>
              <a:endParaRPr sz="1092"/>
            </a:p>
          </p:txBody>
        </p:sp>
        <p:sp>
          <p:nvSpPr>
            <p:cNvPr id="53" name="object 53"/>
            <p:cNvSpPr/>
            <p:nvPr/>
          </p:nvSpPr>
          <p:spPr>
            <a:xfrm>
              <a:off x="4306823" y="1273651"/>
              <a:ext cx="82041" cy="173482"/>
            </a:xfrm>
            <a:prstGeom prst="rect">
              <a:avLst/>
            </a:prstGeom>
            <a:blipFill>
              <a:blip r:embed="rId31" cstate="print"/>
              <a:stretch>
                <a:fillRect/>
              </a:stretch>
            </a:blipFill>
          </p:spPr>
          <p:txBody>
            <a:bodyPr wrap="square" lIns="0" tIns="0" rIns="0" bIns="0" rtlCol="0"/>
            <a:lstStyle/>
            <a:p>
              <a:endParaRPr sz="1092"/>
            </a:p>
          </p:txBody>
        </p:sp>
        <p:sp>
          <p:nvSpPr>
            <p:cNvPr id="54" name="object 54"/>
            <p:cNvSpPr/>
            <p:nvPr/>
          </p:nvSpPr>
          <p:spPr>
            <a:xfrm>
              <a:off x="4386072" y="1182338"/>
              <a:ext cx="231648" cy="334645"/>
            </a:xfrm>
            <a:prstGeom prst="rect">
              <a:avLst/>
            </a:prstGeom>
            <a:blipFill>
              <a:blip r:embed="rId32" cstate="print"/>
              <a:stretch>
                <a:fillRect/>
              </a:stretch>
            </a:blipFill>
          </p:spPr>
          <p:txBody>
            <a:bodyPr wrap="square" lIns="0" tIns="0" rIns="0" bIns="0" rtlCol="0"/>
            <a:lstStyle/>
            <a:p>
              <a:endParaRPr sz="1092"/>
            </a:p>
          </p:txBody>
        </p:sp>
        <p:sp>
          <p:nvSpPr>
            <p:cNvPr id="55" name="object 55"/>
            <p:cNvSpPr/>
            <p:nvPr/>
          </p:nvSpPr>
          <p:spPr>
            <a:xfrm>
              <a:off x="4620767" y="1274032"/>
              <a:ext cx="143135" cy="173482"/>
            </a:xfrm>
            <a:prstGeom prst="rect">
              <a:avLst/>
            </a:prstGeom>
            <a:blipFill>
              <a:blip r:embed="rId33" cstate="print"/>
              <a:stretch>
                <a:fillRect/>
              </a:stretch>
            </a:blipFill>
          </p:spPr>
          <p:txBody>
            <a:bodyPr wrap="square" lIns="0" tIns="0" rIns="0" bIns="0" rtlCol="0"/>
            <a:lstStyle/>
            <a:p>
              <a:endParaRPr sz="1092"/>
            </a:p>
          </p:txBody>
        </p:sp>
      </p:grpSp>
      <p:sp>
        <p:nvSpPr>
          <p:cNvPr id="56" name="object 56"/>
          <p:cNvSpPr txBox="1">
            <a:spLocks noGrp="1"/>
          </p:cNvSpPr>
          <p:nvPr>
            <p:ph type="ftr" sz="quarter" idx="5"/>
          </p:nvPr>
        </p:nvSpPr>
        <p:spPr>
          <a:xfrm>
            <a:off x="5732634" y="11033191"/>
            <a:ext cx="8108315" cy="239395"/>
          </a:xfrm>
          <a:prstGeom prst="rect">
            <a:avLst/>
          </a:prstGeom>
        </p:spPr>
        <p:txBody>
          <a:bodyPr vert="horz" wrap="square" lIns="0" tIns="0" rIns="0" bIns="0" rtlCol="0">
            <a:spAutoFit/>
          </a:bodyPr>
          <a:lstStyle>
            <a:defPPr>
              <a:defRPr lang="en-US"/>
            </a:defPPr>
            <a:lvl1pPr marL="0" algn="l" defTabSz="914400" rtl="0" eaLnBrk="1" latinLnBrk="0" hangingPunct="1">
              <a:defRPr sz="1400" b="0" i="0" kern="1200">
                <a:solidFill>
                  <a:schemeClr val="tx1"/>
                </a:solidFill>
                <a:latin typeface="Tahoma"/>
                <a:ea typeface="+mn-ea"/>
                <a:cs typeface="Tahom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01">
              <a:spcBef>
                <a:spcPts val="55"/>
              </a:spcBef>
            </a:pPr>
            <a:r>
              <a:rPr lang="en-US" spc="-5"/>
              <a:t>Proprietary </a:t>
            </a:r>
            <a:r>
              <a:rPr lang="en-US" spc="-10"/>
              <a:t>content. </a:t>
            </a:r>
            <a:r>
              <a:rPr lang="en-US" spc="-5"/>
              <a:t>©Great </a:t>
            </a:r>
            <a:r>
              <a:rPr lang="en-US" spc="-10"/>
              <a:t>Learning. All Rights </a:t>
            </a:r>
            <a:r>
              <a:rPr lang="en-US"/>
              <a:t>Reserved. </a:t>
            </a:r>
            <a:r>
              <a:rPr lang="en-US" spc="-10"/>
              <a:t>Unauthorized use </a:t>
            </a:r>
            <a:r>
              <a:rPr lang="en-US" spc="-5"/>
              <a:t>or </a:t>
            </a:r>
            <a:r>
              <a:rPr lang="en-US" spc="-10"/>
              <a:t>distribution</a:t>
            </a:r>
            <a:r>
              <a:rPr lang="en-US" spc="80"/>
              <a:t> </a:t>
            </a:r>
            <a:r>
              <a:rPr lang="en-US" spc="-10"/>
              <a:t>prohibited.</a:t>
            </a:r>
            <a:endParaRPr spc="-6" dirty="0"/>
          </a:p>
        </p:txBody>
      </p:sp>
      <p:pic>
        <p:nvPicPr>
          <p:cNvPr id="58" name="Picture 57">
            <a:extLst>
              <a:ext uri="{FF2B5EF4-FFF2-40B4-BE49-F238E27FC236}">
                <a16:creationId xmlns:a16="http://schemas.microsoft.com/office/drawing/2014/main" id="{020A8892-6DA5-4FB4-A08D-A1E641935AB1}"/>
              </a:ext>
            </a:extLst>
          </p:cNvPr>
          <p:cNvPicPr>
            <a:picLocks noChangeAspect="1"/>
          </p:cNvPicPr>
          <p:nvPr/>
        </p:nvPicPr>
        <p:blipFill>
          <a:blip r:embed="rId34"/>
          <a:stretch>
            <a:fillRect/>
          </a:stretch>
        </p:blipFill>
        <p:spPr>
          <a:xfrm>
            <a:off x="295587" y="144143"/>
            <a:ext cx="3127967" cy="1671432"/>
          </a:xfrm>
          <a:prstGeom prst="rect">
            <a:avLst/>
          </a:prstGeom>
        </p:spPr>
      </p:pic>
      <p:sp>
        <p:nvSpPr>
          <p:cNvPr id="59" name="object 6">
            <a:extLst>
              <a:ext uri="{FF2B5EF4-FFF2-40B4-BE49-F238E27FC236}">
                <a16:creationId xmlns:a16="http://schemas.microsoft.com/office/drawing/2014/main" id="{5DBAF0F2-02F5-4B29-812A-D87776CA6770}"/>
              </a:ext>
            </a:extLst>
          </p:cNvPr>
          <p:cNvSpPr txBox="1">
            <a:spLocks/>
          </p:cNvSpPr>
          <p:nvPr/>
        </p:nvSpPr>
        <p:spPr>
          <a:xfrm>
            <a:off x="312792" y="2029552"/>
            <a:ext cx="4369103" cy="167062"/>
          </a:xfrm>
          <a:prstGeom prst="rect">
            <a:avLst/>
          </a:prstGeom>
        </p:spPr>
        <p:txBody>
          <a:bodyPr vert="horz" wrap="square" lIns="0" tIns="2695" rIns="0" bIns="0" rtlCol="0">
            <a:spAutoFit/>
          </a:bodyPr>
          <a:lstStyle>
            <a:lvl1pPr>
              <a:defRPr>
                <a:latin typeface="+mj-lt"/>
                <a:ea typeface="+mj-ea"/>
                <a:cs typeface="+mj-cs"/>
              </a:defRPr>
            </a:lvl1pPr>
          </a:lstStyle>
          <a:p>
            <a:pPr marL="7701" marR="3081">
              <a:lnSpc>
                <a:spcPct val="101000"/>
              </a:lnSpc>
              <a:spcBef>
                <a:spcPts val="21"/>
              </a:spcBef>
            </a:pPr>
            <a:r>
              <a:rPr lang="en-US" sz="1092" kern="0" spc="-194">
                <a:solidFill>
                  <a:srgbClr val="1A75B3"/>
                </a:solidFill>
              </a:rPr>
              <a:t>LEARNING </a:t>
            </a:r>
            <a:r>
              <a:rPr lang="en-US" sz="1092" kern="0" spc="-130">
                <a:solidFill>
                  <a:srgbClr val="1A75B3"/>
                </a:solidFill>
              </a:rPr>
              <a:t>OBJECTIVE</a:t>
            </a:r>
            <a:r>
              <a:rPr lang="en-US" sz="1092" kern="0" spc="-282">
                <a:solidFill>
                  <a:srgbClr val="1A75B3"/>
                </a:solidFill>
              </a:rPr>
              <a:t> </a:t>
            </a:r>
            <a:r>
              <a:rPr lang="en-US" sz="1092" kern="0" spc="-30">
                <a:solidFill>
                  <a:srgbClr val="1A75B3"/>
                </a:solidFill>
              </a:rPr>
              <a:t>OF  </a:t>
            </a:r>
            <a:r>
              <a:rPr lang="en-US" sz="1092" kern="0" spc="-343">
                <a:solidFill>
                  <a:srgbClr val="1A75B3"/>
                </a:solidFill>
              </a:rPr>
              <a:t>THIS</a:t>
            </a:r>
            <a:r>
              <a:rPr lang="en-US" sz="1092" kern="0" spc="-233">
                <a:solidFill>
                  <a:srgbClr val="1A75B3"/>
                </a:solidFill>
              </a:rPr>
              <a:t> </a:t>
            </a:r>
            <a:r>
              <a:rPr lang="en-US" sz="1092" kern="0" spc="-42">
                <a:solidFill>
                  <a:srgbClr val="1A75B3"/>
                </a:solidFill>
              </a:rPr>
              <a:t>MODULE</a:t>
            </a:r>
            <a:endParaRPr lang="en-US" sz="1092" kern="0" spc="-42" dirty="0">
              <a:solidFill>
                <a:srgbClr val="1A75B3"/>
              </a:solidFill>
            </a:endParaRPr>
          </a:p>
        </p:txBody>
      </p:sp>
      <p:sp>
        <p:nvSpPr>
          <p:cNvPr id="62" name="object 6">
            <a:extLst>
              <a:ext uri="{FF2B5EF4-FFF2-40B4-BE49-F238E27FC236}">
                <a16:creationId xmlns:a16="http://schemas.microsoft.com/office/drawing/2014/main" id="{0D449AB1-4CD2-42C4-8C5D-9545B2279390}"/>
              </a:ext>
            </a:extLst>
          </p:cNvPr>
          <p:cNvSpPr txBox="1">
            <a:spLocks/>
          </p:cNvSpPr>
          <p:nvPr/>
        </p:nvSpPr>
        <p:spPr>
          <a:xfrm>
            <a:off x="388573" y="1940726"/>
            <a:ext cx="4293322" cy="167062"/>
          </a:xfrm>
          <a:prstGeom prst="rect">
            <a:avLst/>
          </a:prstGeom>
        </p:spPr>
        <p:txBody>
          <a:bodyPr vert="horz" wrap="square" lIns="0" tIns="2695" rIns="0" bIns="0" rtlCol="0">
            <a:spAutoFit/>
          </a:bodyPr>
          <a:lstStyle>
            <a:lvl1pPr>
              <a:defRPr>
                <a:latin typeface="+mj-lt"/>
                <a:ea typeface="+mj-ea"/>
                <a:cs typeface="+mj-cs"/>
              </a:defRPr>
            </a:lvl1pPr>
          </a:lstStyle>
          <a:p>
            <a:pPr marL="7701" marR="3081">
              <a:lnSpc>
                <a:spcPct val="101000"/>
              </a:lnSpc>
              <a:spcBef>
                <a:spcPts val="21"/>
              </a:spcBef>
            </a:pPr>
            <a:r>
              <a:rPr lang="en-US" sz="1092" kern="0" spc="-194">
                <a:solidFill>
                  <a:srgbClr val="1A75B3"/>
                </a:solidFill>
              </a:rPr>
              <a:t>LEARNING </a:t>
            </a:r>
            <a:r>
              <a:rPr lang="en-US" sz="1092" kern="0" spc="-130">
                <a:solidFill>
                  <a:srgbClr val="1A75B3"/>
                </a:solidFill>
              </a:rPr>
              <a:t>OBJECTIVE</a:t>
            </a:r>
            <a:r>
              <a:rPr lang="en-US" sz="1092" kern="0" spc="-282">
                <a:solidFill>
                  <a:srgbClr val="1A75B3"/>
                </a:solidFill>
              </a:rPr>
              <a:t> </a:t>
            </a:r>
            <a:r>
              <a:rPr lang="en-US" sz="1092" kern="0" spc="-30">
                <a:solidFill>
                  <a:srgbClr val="1A75B3"/>
                </a:solidFill>
              </a:rPr>
              <a:t>OF  </a:t>
            </a:r>
            <a:r>
              <a:rPr lang="en-US" sz="1092" kern="0" spc="-343">
                <a:solidFill>
                  <a:srgbClr val="1A75B3"/>
                </a:solidFill>
              </a:rPr>
              <a:t>THIS</a:t>
            </a:r>
            <a:r>
              <a:rPr lang="en-US" sz="1092" kern="0" spc="-233">
                <a:solidFill>
                  <a:srgbClr val="1A75B3"/>
                </a:solidFill>
              </a:rPr>
              <a:t> </a:t>
            </a:r>
            <a:r>
              <a:rPr lang="en-US" sz="1092" kern="0" spc="-42">
                <a:solidFill>
                  <a:srgbClr val="1A75B3"/>
                </a:solidFill>
              </a:rPr>
              <a:t>MODULE</a:t>
            </a:r>
            <a:endParaRPr lang="en-US" sz="1092" kern="0" spc="-42" dirty="0">
              <a:solidFill>
                <a:srgbClr val="1A75B3"/>
              </a:solidFill>
            </a:endParaRPr>
          </a:p>
        </p:txBody>
      </p:sp>
      <p:sp>
        <p:nvSpPr>
          <p:cNvPr id="66" name="TextBox 65">
            <a:extLst>
              <a:ext uri="{FF2B5EF4-FFF2-40B4-BE49-F238E27FC236}">
                <a16:creationId xmlns:a16="http://schemas.microsoft.com/office/drawing/2014/main" id="{B3EABA53-6EE2-4E1D-B40F-D13F5966CA82}"/>
              </a:ext>
            </a:extLst>
          </p:cNvPr>
          <p:cNvSpPr txBox="1"/>
          <p:nvPr/>
        </p:nvSpPr>
        <p:spPr>
          <a:xfrm>
            <a:off x="-34347" y="1971301"/>
            <a:ext cx="11837774" cy="3451329"/>
          </a:xfrm>
          <a:prstGeom prst="rect">
            <a:avLst/>
          </a:prstGeom>
          <a:noFill/>
        </p:spPr>
        <p:txBody>
          <a:bodyPr wrap="square" rtlCol="0">
            <a:spAutoFit/>
          </a:bodyPr>
          <a:lstStyle/>
          <a:p>
            <a:r>
              <a:rPr lang="en-US" sz="3638" b="1" dirty="0">
                <a:solidFill>
                  <a:schemeClr val="bg1"/>
                </a:solidFill>
                <a:latin typeface="Verdana" panose="020B0604030504040204" pitchFamily="34" charset="0"/>
                <a:ea typeface="Verdana" panose="020B0604030504040204" pitchFamily="34" charset="0"/>
              </a:rPr>
              <a:t>INDUSTRY SESSION </a:t>
            </a:r>
          </a:p>
          <a:p>
            <a:r>
              <a:rPr lang="en-US" sz="3638" b="1" dirty="0">
                <a:solidFill>
                  <a:schemeClr val="bg1"/>
                </a:solidFill>
                <a:latin typeface="Verdana" panose="020B0604030504040204" pitchFamily="34" charset="0"/>
                <a:ea typeface="Verdana" panose="020B0604030504040204" pitchFamily="34" charset="0"/>
              </a:rPr>
              <a:t>				ON</a:t>
            </a:r>
          </a:p>
          <a:p>
            <a:r>
              <a:rPr lang="en-US" sz="3638" b="1" dirty="0">
                <a:solidFill>
                  <a:schemeClr val="bg1"/>
                </a:solidFill>
                <a:latin typeface="Verdana" panose="020B0604030504040204" pitchFamily="34" charset="0"/>
                <a:ea typeface="Verdana" panose="020B0604030504040204" pitchFamily="34" charset="0"/>
              </a:rPr>
              <a:t>Machine </a:t>
            </a:r>
            <a:r>
              <a:rPr lang="en-US" sz="3638" b="1">
                <a:solidFill>
                  <a:schemeClr val="bg1"/>
                </a:solidFill>
                <a:latin typeface="Verdana" panose="020B0604030504040204" pitchFamily="34" charset="0"/>
                <a:ea typeface="Verdana" panose="020B0604030504040204" pitchFamily="34" charset="0"/>
              </a:rPr>
              <a:t>Learning v/s </a:t>
            </a:r>
            <a:endParaRPr lang="en-US" sz="3638" b="1" dirty="0">
              <a:solidFill>
                <a:schemeClr val="bg1"/>
              </a:solidFill>
              <a:latin typeface="Verdana" panose="020B0604030504040204" pitchFamily="34" charset="0"/>
              <a:ea typeface="Verdana" panose="020B0604030504040204" pitchFamily="34" charset="0"/>
            </a:endParaRPr>
          </a:p>
          <a:p>
            <a:r>
              <a:rPr lang="en-US" sz="3638" b="1" dirty="0">
                <a:solidFill>
                  <a:schemeClr val="bg1"/>
                </a:solidFill>
                <a:latin typeface="Verdana" panose="020B0604030504040204" pitchFamily="34" charset="0"/>
                <a:ea typeface="Verdana" panose="020B0604030504040204" pitchFamily="34" charset="0"/>
              </a:rPr>
              <a:t>Statistics</a:t>
            </a:r>
          </a:p>
          <a:p>
            <a:endParaRPr lang="en-US" sz="3638" b="1" dirty="0">
              <a:solidFill>
                <a:schemeClr val="bg1"/>
              </a:solidFill>
              <a:latin typeface="Verdana" panose="020B0604030504040204" pitchFamily="34" charset="0"/>
              <a:ea typeface="Verdana" panose="020B0604030504040204" pitchFamily="34" charset="0"/>
            </a:endParaRPr>
          </a:p>
          <a:p>
            <a:endParaRPr lang="en-IN" sz="3638" b="1" dirty="0">
              <a:solidFill>
                <a:schemeClr val="bg1"/>
              </a:solidFill>
              <a:latin typeface="Verdana" panose="020B0604030504040204" pitchFamily="34" charset="0"/>
              <a:ea typeface="Verdana" panose="020B060403050404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16713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sz="4400" dirty="0">
                <a:latin typeface="Arial" panose="020B0604020202020204" pitchFamily="34" charset="0"/>
                <a:cs typeface="Arial" panose="020B0604020202020204" pitchFamily="34" charset="0"/>
              </a:rPr>
              <a:t>ML vs Statistics</a:t>
            </a:r>
            <a:endParaRPr lang="en-US" dirty="0"/>
          </a:p>
        </p:txBody>
      </p:sp>
      <p:sp>
        <p:nvSpPr>
          <p:cNvPr id="4" name="object 2">
            <a:extLst>
              <a:ext uri="{FF2B5EF4-FFF2-40B4-BE49-F238E27FC236}">
                <a16:creationId xmlns:a16="http://schemas.microsoft.com/office/drawing/2014/main" id="{A7537B44-584C-4051-A411-C108D69E1CEC}"/>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6" name="Picture 5">
            <a:extLst>
              <a:ext uri="{FF2B5EF4-FFF2-40B4-BE49-F238E27FC236}">
                <a16:creationId xmlns:a16="http://schemas.microsoft.com/office/drawing/2014/main" id="{896B0529-E40A-43D1-9984-ADAC6B5FEAA6}"/>
              </a:ext>
            </a:extLst>
          </p:cNvPr>
          <p:cNvPicPr>
            <a:picLocks noChangeAspect="1"/>
          </p:cNvPicPr>
          <p:nvPr/>
        </p:nvPicPr>
        <p:blipFill>
          <a:blip r:embed="rId6"/>
          <a:stretch>
            <a:fillRect/>
          </a:stretch>
        </p:blipFill>
        <p:spPr>
          <a:xfrm>
            <a:off x="10633" y="114175"/>
            <a:ext cx="3547426" cy="1895571"/>
          </a:xfrm>
          <a:prstGeom prst="rect">
            <a:avLst/>
          </a:prstGeom>
        </p:spPr>
      </p:pic>
    </p:spTree>
    <p:extLst>
      <p:ext uri="{BB962C8B-B14F-4D97-AF65-F5344CB8AC3E}">
        <p14:creationId xmlns:p14="http://schemas.microsoft.com/office/powerpoint/2010/main" val="36589136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06A95F-E934-45D9-A9B5-C3AD6820B650}"/>
              </a:ext>
            </a:extLst>
          </p:cNvPr>
          <p:cNvGraphicFramePr>
            <a:graphicFrameLocks noChangeAspect="1"/>
          </p:cNvGraphicFramePr>
          <p:nvPr>
            <p:custDataLst>
              <p:tags r:id="rId1"/>
            </p:custDataLst>
            <p:extLst>
              <p:ext uri="{D42A27DB-BD31-4B8C-83A1-F6EECF244321}">
                <p14:modId xmlns:p14="http://schemas.microsoft.com/office/powerpoint/2010/main" val="46089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906A95F-E934-45D9-A9B5-C3AD6820B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object 2">
            <a:extLst>
              <a:ext uri="{FF2B5EF4-FFF2-40B4-BE49-F238E27FC236}">
                <a16:creationId xmlns:a16="http://schemas.microsoft.com/office/drawing/2014/main" id="{08A2EE87-0A26-4232-A17D-51C7218053B3}"/>
              </a:ext>
            </a:extLst>
          </p:cNvPr>
          <p:cNvSpPr/>
          <p:nvPr/>
        </p:nvSpPr>
        <p:spPr>
          <a:xfrm>
            <a:off x="0" y="0"/>
            <a:ext cx="12191999" cy="2073349"/>
          </a:xfrm>
          <a:prstGeom prst="rect">
            <a:avLst/>
          </a:prstGeom>
          <a:blipFill>
            <a:blip r:embed="rId6" cstate="print"/>
            <a:stretch>
              <a:fillRect/>
            </a:stretch>
          </a:blipFill>
        </p:spPr>
        <p:txBody>
          <a:bodyPr wrap="square" lIns="0" tIns="0" rIns="0" bIns="0" rtlCol="0"/>
          <a:lstStyle/>
          <a:p>
            <a:endParaRPr/>
          </a:p>
        </p:txBody>
      </p:sp>
      <p:cxnSp>
        <p:nvCxnSpPr>
          <p:cNvPr id="17" name="Straight Connector 16">
            <a:extLst>
              <a:ext uri="{FF2B5EF4-FFF2-40B4-BE49-F238E27FC236}">
                <a16:creationId xmlns:a16="http://schemas.microsoft.com/office/drawing/2014/main" id="{F8A03B54-F5FF-4EF3-ADCE-C0D08BD8BB8F}"/>
              </a:ext>
            </a:extLst>
          </p:cNvPr>
          <p:cNvCxnSpPr>
            <a:cxnSpLocks/>
          </p:cNvCxnSpPr>
          <p:nvPr/>
        </p:nvCxnSpPr>
        <p:spPr>
          <a:xfrm>
            <a:off x="6096000" y="1365117"/>
            <a:ext cx="0" cy="4029075"/>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B6A7422-6C0D-407E-BE5E-493237B053BC}"/>
              </a:ext>
            </a:extLst>
          </p:cNvPr>
          <p:cNvSpPr/>
          <p:nvPr/>
        </p:nvSpPr>
        <p:spPr>
          <a:xfrm>
            <a:off x="1458610"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chine Learning</a:t>
            </a:r>
          </a:p>
        </p:txBody>
      </p:sp>
      <p:sp>
        <p:nvSpPr>
          <p:cNvPr id="20" name="Rectangle 19">
            <a:extLst>
              <a:ext uri="{FF2B5EF4-FFF2-40B4-BE49-F238E27FC236}">
                <a16:creationId xmlns:a16="http://schemas.microsoft.com/office/drawing/2014/main" id="{1C0B5D69-8D98-445A-9A5A-E53CAA493D51}"/>
              </a:ext>
            </a:extLst>
          </p:cNvPr>
          <p:cNvSpPr/>
          <p:nvPr/>
        </p:nvSpPr>
        <p:spPr>
          <a:xfrm>
            <a:off x="7566488"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istics</a:t>
            </a:r>
          </a:p>
        </p:txBody>
      </p:sp>
      <p:sp>
        <p:nvSpPr>
          <p:cNvPr id="21" name="TextBox 20">
            <a:extLst>
              <a:ext uri="{FF2B5EF4-FFF2-40B4-BE49-F238E27FC236}">
                <a16:creationId xmlns:a16="http://schemas.microsoft.com/office/drawing/2014/main" id="{3078E151-BC85-4E91-A702-A2691E85FC04}"/>
              </a:ext>
            </a:extLst>
          </p:cNvPr>
          <p:cNvSpPr txBox="1"/>
          <p:nvPr/>
        </p:nvSpPr>
        <p:spPr>
          <a:xfrm>
            <a:off x="6369979" y="2198241"/>
            <a:ext cx="5364820" cy="2585323"/>
          </a:xfrm>
          <a:prstGeom prst="rect">
            <a:avLst/>
          </a:prstGeom>
          <a:noFill/>
        </p:spPr>
        <p:txBody>
          <a:bodyPr wrap="square" rtlCol="0">
            <a:spAutoFit/>
          </a:bodyPr>
          <a:lstStyle/>
          <a:p>
            <a:pPr marL="285750" indent="-285750">
              <a:buFont typeface="Arial" panose="020B0604020202020204" pitchFamily="34" charset="0"/>
              <a:buChar char="•"/>
            </a:pPr>
            <a:r>
              <a:rPr lang="en-US" dirty="0"/>
              <a:t>Descriptive Statistics – Methods to do analysis and find out aggregated methods</a:t>
            </a:r>
          </a:p>
          <a:p>
            <a:endParaRPr lang="en-US" dirty="0"/>
          </a:p>
          <a:p>
            <a:pPr marL="285750" indent="-285750">
              <a:buFont typeface="Arial" panose="020B0604020202020204" pitchFamily="34" charset="0"/>
              <a:buChar char="•"/>
            </a:pPr>
            <a:r>
              <a:rPr lang="en-US" dirty="0"/>
              <a:t>Inferential Statistics – Finding relationships amongst dat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1800" dirty="0">
                <a:effectLst/>
                <a:latin typeface="Calibri" panose="020F0502020204030204" pitchFamily="34" charset="0"/>
              </a:rPr>
              <a:t>Statistics is based solely on probability spaces. You can derive the entirety of statistics from set theory and probabilities</a:t>
            </a:r>
          </a:p>
        </p:txBody>
      </p:sp>
      <p:sp>
        <p:nvSpPr>
          <p:cNvPr id="24" name="TextBox 23">
            <a:extLst>
              <a:ext uri="{FF2B5EF4-FFF2-40B4-BE49-F238E27FC236}">
                <a16:creationId xmlns:a16="http://schemas.microsoft.com/office/drawing/2014/main" id="{33467410-0C04-426E-8DB5-A3E882A043DC}"/>
              </a:ext>
            </a:extLst>
          </p:cNvPr>
          <p:cNvSpPr txBox="1"/>
          <p:nvPr/>
        </p:nvSpPr>
        <p:spPr>
          <a:xfrm>
            <a:off x="457201" y="2218790"/>
            <a:ext cx="5438771" cy="2308324"/>
          </a:xfrm>
          <a:prstGeom prst="rect">
            <a:avLst/>
          </a:prstGeom>
          <a:noFill/>
        </p:spPr>
        <p:txBody>
          <a:bodyPr wrap="square" rtlCol="0">
            <a:spAutoFit/>
          </a:bodyPr>
          <a:lstStyle/>
          <a:p>
            <a:pPr marL="285750" indent="-285750">
              <a:buFont typeface="Arial" panose="020B0604020202020204" pitchFamily="34" charset="0"/>
              <a:buChar char="•"/>
            </a:pPr>
            <a:r>
              <a:rPr lang="en-US" dirty="0"/>
              <a:t>Discover patterns in the user data and then make predictions based on these and intricate patter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1800" dirty="0">
                <a:effectLst/>
                <a:latin typeface="Calibri" panose="020F0502020204030204" pitchFamily="34" charset="0"/>
              </a:rPr>
              <a:t>It is a subfield of computer science and artificial intelligence</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calable &amp; Intelligent solutions; less or no rules required</a:t>
            </a:r>
          </a:p>
        </p:txBody>
      </p:sp>
      <p:sp>
        <p:nvSpPr>
          <p:cNvPr id="10" name="Rectangle: Rounded Corners 9">
            <a:extLst>
              <a:ext uri="{FF2B5EF4-FFF2-40B4-BE49-F238E27FC236}">
                <a16:creationId xmlns:a16="http://schemas.microsoft.com/office/drawing/2014/main" id="{084DBEDC-E246-446B-97DD-9C8425878A99}"/>
              </a:ext>
            </a:extLst>
          </p:cNvPr>
          <p:cNvSpPr/>
          <p:nvPr/>
        </p:nvSpPr>
        <p:spPr>
          <a:xfrm>
            <a:off x="219286" y="505564"/>
            <a:ext cx="11753636" cy="70284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en-US" dirty="0">
                <a:solidFill>
                  <a:schemeClr val="tx1"/>
                </a:solidFill>
              </a:rPr>
              <a:t>Both</a:t>
            </a:r>
            <a:r>
              <a:rPr lang="en-US" sz="1600" dirty="0">
                <a:effectLst/>
                <a:latin typeface="Calibri" panose="020F0502020204030204" pitchFamily="34" charset="0"/>
              </a:rPr>
              <a:t> </a:t>
            </a:r>
            <a:r>
              <a:rPr lang="en-US" dirty="0">
                <a:solidFill>
                  <a:schemeClr val="tx1"/>
                </a:solidFill>
              </a:rPr>
              <a:t>machine learning and statistics share the same goal: Learning from data</a:t>
            </a:r>
          </a:p>
        </p:txBody>
      </p:sp>
      <p:sp>
        <p:nvSpPr>
          <p:cNvPr id="14" name="Rectangle: Rounded Corners 13">
            <a:extLst>
              <a:ext uri="{FF2B5EF4-FFF2-40B4-BE49-F238E27FC236}">
                <a16:creationId xmlns:a16="http://schemas.microsoft.com/office/drawing/2014/main" id="{AEB98C33-93E7-402A-8FEA-890ABD453232}"/>
              </a:ext>
            </a:extLst>
          </p:cNvPr>
          <p:cNvSpPr/>
          <p:nvPr/>
        </p:nvSpPr>
        <p:spPr>
          <a:xfrm>
            <a:off x="457201" y="118666"/>
            <a:ext cx="2425397" cy="5379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Objective</a:t>
            </a:r>
          </a:p>
        </p:txBody>
      </p:sp>
      <p:sp>
        <p:nvSpPr>
          <p:cNvPr id="15" name="Rectangle: Rounded Corners 14">
            <a:extLst>
              <a:ext uri="{FF2B5EF4-FFF2-40B4-BE49-F238E27FC236}">
                <a16:creationId xmlns:a16="http://schemas.microsoft.com/office/drawing/2014/main" id="{9ECA0BF2-C081-4506-97FB-AF9AEA78A5C1}"/>
              </a:ext>
            </a:extLst>
          </p:cNvPr>
          <p:cNvSpPr/>
          <p:nvPr/>
        </p:nvSpPr>
        <p:spPr>
          <a:xfrm>
            <a:off x="219182" y="5773392"/>
            <a:ext cx="11753636" cy="822617"/>
          </a:xfrm>
          <a:prstGeom prst="roundRect">
            <a:avLst/>
          </a:prstGeom>
          <a:solidFill>
            <a:schemeClr val="bg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solidFill>
                  <a:schemeClr val="tx1"/>
                </a:solidFill>
              </a:rPr>
              <a:t>Though machine learning has some statistical basis ,still machine learning makes different assumptions than statistics does because the goals of statistics are different </a:t>
            </a:r>
          </a:p>
        </p:txBody>
      </p:sp>
    </p:spTree>
    <p:extLst>
      <p:ext uri="{BB962C8B-B14F-4D97-AF65-F5344CB8AC3E}">
        <p14:creationId xmlns:p14="http://schemas.microsoft.com/office/powerpoint/2010/main" val="3914303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06A95F-E934-45D9-A9B5-C3AD6820B650}"/>
              </a:ext>
            </a:extLst>
          </p:cNvPr>
          <p:cNvGraphicFramePr>
            <a:graphicFrameLocks noChangeAspect="1"/>
          </p:cNvGraphicFramePr>
          <p:nvPr>
            <p:custDataLst>
              <p:tags r:id="rId1"/>
            </p:custDataLst>
            <p:extLst>
              <p:ext uri="{D42A27DB-BD31-4B8C-83A1-F6EECF244321}">
                <p14:modId xmlns:p14="http://schemas.microsoft.com/office/powerpoint/2010/main" val="294536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906A95F-E934-45D9-A9B5-C3AD6820B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2">
            <a:extLst>
              <a:ext uri="{FF2B5EF4-FFF2-40B4-BE49-F238E27FC236}">
                <a16:creationId xmlns:a16="http://schemas.microsoft.com/office/drawing/2014/main" id="{4AD4B18B-431C-478B-9407-6A042E45242C}"/>
              </a:ext>
            </a:extLst>
          </p:cNvPr>
          <p:cNvSpPr/>
          <p:nvPr/>
        </p:nvSpPr>
        <p:spPr>
          <a:xfrm>
            <a:off x="0" y="0"/>
            <a:ext cx="12191999" cy="2073349"/>
          </a:xfrm>
          <a:prstGeom prst="rect">
            <a:avLst/>
          </a:prstGeom>
          <a:blipFill>
            <a:blip r:embed="rId6" cstate="print"/>
            <a:stretch>
              <a:fillRect/>
            </a:stretch>
          </a:blipFill>
        </p:spPr>
        <p:txBody>
          <a:bodyPr wrap="square" lIns="0" tIns="0" rIns="0" bIns="0" rtlCol="0"/>
          <a:lstStyle/>
          <a:p>
            <a:endParaRPr/>
          </a:p>
        </p:txBody>
      </p:sp>
      <p:cxnSp>
        <p:nvCxnSpPr>
          <p:cNvPr id="17" name="Straight Connector 16">
            <a:extLst>
              <a:ext uri="{FF2B5EF4-FFF2-40B4-BE49-F238E27FC236}">
                <a16:creationId xmlns:a16="http://schemas.microsoft.com/office/drawing/2014/main" id="{F8A03B54-F5FF-4EF3-ADCE-C0D08BD8BB8F}"/>
              </a:ext>
            </a:extLst>
          </p:cNvPr>
          <p:cNvCxnSpPr>
            <a:cxnSpLocks/>
          </p:cNvCxnSpPr>
          <p:nvPr/>
        </p:nvCxnSpPr>
        <p:spPr>
          <a:xfrm>
            <a:off x="6096000" y="1365117"/>
            <a:ext cx="0" cy="4265121"/>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B6A7422-6C0D-407E-BE5E-493237B053BC}"/>
              </a:ext>
            </a:extLst>
          </p:cNvPr>
          <p:cNvSpPr/>
          <p:nvPr/>
        </p:nvSpPr>
        <p:spPr>
          <a:xfrm>
            <a:off x="1458610"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chine Learning</a:t>
            </a:r>
          </a:p>
        </p:txBody>
      </p:sp>
      <p:sp>
        <p:nvSpPr>
          <p:cNvPr id="20" name="Rectangle 19">
            <a:extLst>
              <a:ext uri="{FF2B5EF4-FFF2-40B4-BE49-F238E27FC236}">
                <a16:creationId xmlns:a16="http://schemas.microsoft.com/office/drawing/2014/main" id="{1C0B5D69-8D98-445A-9A5A-E53CAA493D51}"/>
              </a:ext>
            </a:extLst>
          </p:cNvPr>
          <p:cNvSpPr/>
          <p:nvPr/>
        </p:nvSpPr>
        <p:spPr>
          <a:xfrm>
            <a:off x="7566488"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istics</a:t>
            </a:r>
          </a:p>
        </p:txBody>
      </p:sp>
      <p:sp>
        <p:nvSpPr>
          <p:cNvPr id="10" name="Rectangle: Rounded Corners 9">
            <a:extLst>
              <a:ext uri="{FF2B5EF4-FFF2-40B4-BE49-F238E27FC236}">
                <a16:creationId xmlns:a16="http://schemas.microsoft.com/office/drawing/2014/main" id="{084DBEDC-E246-446B-97DD-9C8425878A99}"/>
              </a:ext>
            </a:extLst>
          </p:cNvPr>
          <p:cNvSpPr/>
          <p:nvPr/>
        </p:nvSpPr>
        <p:spPr>
          <a:xfrm>
            <a:off x="219286" y="505564"/>
            <a:ext cx="11753636" cy="70284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en-US" dirty="0">
                <a:solidFill>
                  <a:schemeClr val="tx1"/>
                </a:solidFill>
              </a:rPr>
              <a:t>What Methods we choose to build models?</a:t>
            </a:r>
          </a:p>
        </p:txBody>
      </p:sp>
      <p:sp>
        <p:nvSpPr>
          <p:cNvPr id="14" name="Rectangle: Rounded Corners 13">
            <a:extLst>
              <a:ext uri="{FF2B5EF4-FFF2-40B4-BE49-F238E27FC236}">
                <a16:creationId xmlns:a16="http://schemas.microsoft.com/office/drawing/2014/main" id="{AEB98C33-93E7-402A-8FEA-890ABD453232}"/>
              </a:ext>
            </a:extLst>
          </p:cNvPr>
          <p:cNvSpPr/>
          <p:nvPr/>
        </p:nvSpPr>
        <p:spPr>
          <a:xfrm>
            <a:off x="457201" y="118666"/>
            <a:ext cx="2425397" cy="5379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Methodology</a:t>
            </a:r>
          </a:p>
        </p:txBody>
      </p:sp>
      <p:sp>
        <p:nvSpPr>
          <p:cNvPr id="15" name="Rectangle: Rounded Corners 14">
            <a:extLst>
              <a:ext uri="{FF2B5EF4-FFF2-40B4-BE49-F238E27FC236}">
                <a16:creationId xmlns:a16="http://schemas.microsoft.com/office/drawing/2014/main" id="{9ECA0BF2-C081-4506-97FB-AF9AEA78A5C1}"/>
              </a:ext>
            </a:extLst>
          </p:cNvPr>
          <p:cNvSpPr/>
          <p:nvPr/>
        </p:nvSpPr>
        <p:spPr>
          <a:xfrm>
            <a:off x="219182" y="5773392"/>
            <a:ext cx="11753636" cy="822617"/>
          </a:xfrm>
          <a:prstGeom prst="roundRect">
            <a:avLst/>
          </a:prstGeom>
          <a:solidFill>
            <a:schemeClr val="bg1">
              <a:lumMod val="9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solidFill>
                  <a:schemeClr val="tx1"/>
                </a:solidFill>
              </a:rPr>
              <a:t>A Statistician makes sense of quantitative data and to spot trends and make predictions.</a:t>
            </a:r>
          </a:p>
        </p:txBody>
      </p:sp>
      <p:sp>
        <p:nvSpPr>
          <p:cNvPr id="11" name="TextBox 10">
            <a:extLst>
              <a:ext uri="{FF2B5EF4-FFF2-40B4-BE49-F238E27FC236}">
                <a16:creationId xmlns:a16="http://schemas.microsoft.com/office/drawing/2014/main" id="{54D36F57-653D-450A-B8F9-1F19F0FA10AA}"/>
              </a:ext>
            </a:extLst>
          </p:cNvPr>
          <p:cNvSpPr txBox="1"/>
          <p:nvPr/>
        </p:nvSpPr>
        <p:spPr>
          <a:xfrm>
            <a:off x="380147" y="1974717"/>
            <a:ext cx="5515826" cy="3139321"/>
          </a:xfrm>
          <a:prstGeom prst="rect">
            <a:avLst/>
          </a:prstGeom>
          <a:noFill/>
        </p:spPr>
        <p:txBody>
          <a:bodyPr wrap="square" rtlCol="0">
            <a:spAutoFit/>
          </a:bodyPr>
          <a:lstStyle/>
          <a:p>
            <a:pPr rtl="0" fontAlgn="ctr">
              <a:spcBef>
                <a:spcPts val="0"/>
              </a:spcBef>
              <a:spcAft>
                <a:spcPts val="0"/>
              </a:spcAft>
            </a:pPr>
            <a:endParaRPr lang="en-US" sz="1800" dirty="0">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sz="1800" b="1" dirty="0">
                <a:effectLst/>
                <a:latin typeface="Calibri" panose="020F0502020204030204" pitchFamily="34" charset="0"/>
              </a:rPr>
              <a:t>Predictive Modelling</a:t>
            </a:r>
            <a:r>
              <a:rPr lang="en-US" sz="1800" dirty="0">
                <a:effectLst/>
                <a:latin typeface="Calibri" panose="020F0502020204030204" pitchFamily="34" charset="0"/>
              </a:rPr>
              <a:t> - It deals with building systems that can learn from data, instead of explicitly programmed instructions.</a:t>
            </a:r>
          </a:p>
          <a:p>
            <a:pPr marL="285750" indent="-285750" rtl="0" fontAlgn="ctr">
              <a:spcBef>
                <a:spcPts val="0"/>
              </a:spcBef>
              <a:spcAft>
                <a:spcPts val="0"/>
              </a:spcAft>
              <a:buFont typeface="Arial" panose="020B0604020202020204" pitchFamily="34" charset="0"/>
              <a:buChar char="•"/>
            </a:pPr>
            <a:endParaRPr lang="en-US" b="1" dirty="0">
              <a:latin typeface="Calibri" panose="020F0502020204030204" pitchFamily="34" charset="0"/>
            </a:endParaRPr>
          </a:p>
          <a:p>
            <a:pPr marL="285750" indent="-285750" fontAlgn="ctr">
              <a:buFont typeface="Arial" panose="020B0604020202020204" pitchFamily="34" charset="0"/>
              <a:buChar char="•"/>
            </a:pPr>
            <a:r>
              <a:rPr lang="en-US" b="1" dirty="0">
                <a:latin typeface="Calibri" panose="020F0502020204030204" pitchFamily="34" charset="0"/>
              </a:rPr>
              <a:t>Large scale Intelligent solutions - </a:t>
            </a:r>
            <a:r>
              <a:rPr lang="en-US" sz="1800" b="0" i="0" dirty="0">
                <a:solidFill>
                  <a:srgbClr val="222222"/>
                </a:solidFill>
                <a:effectLst/>
                <a:latin typeface="Calibri" panose="020F0502020204030204" pitchFamily="34" charset="0"/>
              </a:rPr>
              <a:t>Machine Learning works with Big Data in the form of networks and graphs ; raw data from sensors and internet , and the data collected is split into training and test data</a:t>
            </a:r>
          </a:p>
          <a:p>
            <a:pPr marL="285750" indent="-285750" rtl="0" fontAlgn="ctr">
              <a:spcBef>
                <a:spcPts val="0"/>
              </a:spcBef>
              <a:spcAft>
                <a:spcPts val="0"/>
              </a:spcAft>
              <a:buFont typeface="Arial" panose="020B0604020202020204" pitchFamily="34" charset="0"/>
              <a:buChar char="•"/>
            </a:pPr>
            <a:endParaRPr lang="en-US" sz="1800" b="1" dirty="0">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b="1" dirty="0">
                <a:latin typeface="Calibri" panose="020F0502020204030204" pitchFamily="34" charset="0"/>
              </a:rPr>
              <a:t>Deep Learning Path</a:t>
            </a:r>
            <a:endParaRPr lang="en-US" sz="1800" b="1" dirty="0">
              <a:effectLst/>
              <a:latin typeface="Calibri" panose="020F0502020204030204" pitchFamily="34" charset="0"/>
            </a:endParaRPr>
          </a:p>
        </p:txBody>
      </p:sp>
      <p:sp>
        <p:nvSpPr>
          <p:cNvPr id="12" name="TextBox 11">
            <a:extLst>
              <a:ext uri="{FF2B5EF4-FFF2-40B4-BE49-F238E27FC236}">
                <a16:creationId xmlns:a16="http://schemas.microsoft.com/office/drawing/2014/main" id="{C9DF85D3-5C36-4012-967B-C6D5CC1A4BFE}"/>
              </a:ext>
            </a:extLst>
          </p:cNvPr>
          <p:cNvSpPr txBox="1"/>
          <p:nvPr/>
        </p:nvSpPr>
        <p:spPr>
          <a:xfrm>
            <a:off x="6319358" y="1803074"/>
            <a:ext cx="5653453" cy="3693319"/>
          </a:xfrm>
          <a:prstGeom prst="rect">
            <a:avLst/>
          </a:prstGeom>
          <a:noFill/>
        </p:spPr>
        <p:txBody>
          <a:bodyPr wrap="square" rtlCol="0">
            <a:spAutoFit/>
          </a:bodyPr>
          <a:lstStyle/>
          <a:p>
            <a:pPr rtl="0" fontAlgn="ctr">
              <a:spcBef>
                <a:spcPts val="0"/>
              </a:spcBef>
              <a:spcAft>
                <a:spcPts val="0"/>
              </a:spcAft>
              <a:buFont typeface="Arial" panose="020B0604020202020204" pitchFamily="34" charset="0"/>
              <a:buChar char="•"/>
            </a:pPr>
            <a:endParaRPr lang="en-US" sz="1800" dirty="0">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Models seeks a quantitative measure of confidence that a discovered relationship describes a ‘true’ effect that is unlikely to result from noise</a:t>
            </a:r>
          </a:p>
          <a:p>
            <a:pPr marL="285750" indent="-285750" rtl="0" fontAlgn="ctr">
              <a:spcBef>
                <a:spcPts val="0"/>
              </a:spcBef>
              <a:spcAft>
                <a:spcPts val="0"/>
              </a:spcAft>
              <a:buFont typeface="Arial" panose="020B0604020202020204" pitchFamily="34" charset="0"/>
              <a:buChar char="•"/>
            </a:pPr>
            <a:endParaRPr lang="en-US" sz="1800" dirty="0">
              <a:effectLst/>
              <a:latin typeface="Calibri" panose="020F0502020204030204" pitchFamily="34" charset="0"/>
            </a:endParaRPr>
          </a:p>
          <a:p>
            <a:pPr marL="285750" indent="-285750"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If enough data are available, we can explicitly verify assumptions (e.g., equal variance) and refine the specified model, if needed</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Predictive Modeling - </a:t>
            </a:r>
            <a:r>
              <a:rPr lang="en-US" dirty="0"/>
              <a:t>In Statistics , statistical models are created to create the prediction on smaller samples and further analysis for future data based on earlier past data</a:t>
            </a:r>
          </a:p>
        </p:txBody>
      </p:sp>
    </p:spTree>
    <p:extLst>
      <p:ext uri="{BB962C8B-B14F-4D97-AF65-F5344CB8AC3E}">
        <p14:creationId xmlns:p14="http://schemas.microsoft.com/office/powerpoint/2010/main" val="1468762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06A95F-E934-45D9-A9B5-C3AD6820B650}"/>
              </a:ext>
            </a:extLst>
          </p:cNvPr>
          <p:cNvGraphicFramePr>
            <a:graphicFrameLocks noChangeAspect="1"/>
          </p:cNvGraphicFramePr>
          <p:nvPr>
            <p:custDataLst>
              <p:tags r:id="rId1"/>
            </p:custDataLst>
            <p:extLst>
              <p:ext uri="{D42A27DB-BD31-4B8C-83A1-F6EECF244321}">
                <p14:modId xmlns:p14="http://schemas.microsoft.com/office/powerpoint/2010/main" val="209116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906A95F-E934-45D9-A9B5-C3AD6820B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object 2">
            <a:extLst>
              <a:ext uri="{FF2B5EF4-FFF2-40B4-BE49-F238E27FC236}">
                <a16:creationId xmlns:a16="http://schemas.microsoft.com/office/drawing/2014/main" id="{6E5593E2-383E-4451-B343-380D6B2F64ED}"/>
              </a:ext>
            </a:extLst>
          </p:cNvPr>
          <p:cNvSpPr/>
          <p:nvPr/>
        </p:nvSpPr>
        <p:spPr>
          <a:xfrm>
            <a:off x="0" y="0"/>
            <a:ext cx="12191999" cy="2073349"/>
          </a:xfrm>
          <a:prstGeom prst="rect">
            <a:avLst/>
          </a:prstGeom>
          <a:blipFill>
            <a:blip r:embed="rId6" cstate="print"/>
            <a:stretch>
              <a:fillRect/>
            </a:stretch>
          </a:blipFill>
        </p:spPr>
        <p:txBody>
          <a:bodyPr wrap="square" lIns="0" tIns="0" rIns="0" bIns="0" rtlCol="0"/>
          <a:lstStyle/>
          <a:p>
            <a:endParaRPr/>
          </a:p>
        </p:txBody>
      </p:sp>
      <p:cxnSp>
        <p:nvCxnSpPr>
          <p:cNvPr id="17" name="Straight Connector 16">
            <a:extLst>
              <a:ext uri="{FF2B5EF4-FFF2-40B4-BE49-F238E27FC236}">
                <a16:creationId xmlns:a16="http://schemas.microsoft.com/office/drawing/2014/main" id="{F8A03B54-F5FF-4EF3-ADCE-C0D08BD8BB8F}"/>
              </a:ext>
            </a:extLst>
          </p:cNvPr>
          <p:cNvCxnSpPr>
            <a:cxnSpLocks/>
          </p:cNvCxnSpPr>
          <p:nvPr/>
        </p:nvCxnSpPr>
        <p:spPr>
          <a:xfrm>
            <a:off x="6096000" y="1296439"/>
            <a:ext cx="0" cy="5381763"/>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B6A7422-6C0D-407E-BE5E-493237B053BC}"/>
              </a:ext>
            </a:extLst>
          </p:cNvPr>
          <p:cNvSpPr/>
          <p:nvPr/>
        </p:nvSpPr>
        <p:spPr>
          <a:xfrm>
            <a:off x="1458610"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chine Learning</a:t>
            </a:r>
          </a:p>
        </p:txBody>
      </p:sp>
      <p:sp>
        <p:nvSpPr>
          <p:cNvPr id="20" name="Rectangle 19">
            <a:extLst>
              <a:ext uri="{FF2B5EF4-FFF2-40B4-BE49-F238E27FC236}">
                <a16:creationId xmlns:a16="http://schemas.microsoft.com/office/drawing/2014/main" id="{1C0B5D69-8D98-445A-9A5A-E53CAA493D51}"/>
              </a:ext>
            </a:extLst>
          </p:cNvPr>
          <p:cNvSpPr/>
          <p:nvPr/>
        </p:nvSpPr>
        <p:spPr>
          <a:xfrm>
            <a:off x="7566488" y="1365117"/>
            <a:ext cx="2847975" cy="6096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tistics</a:t>
            </a:r>
          </a:p>
        </p:txBody>
      </p:sp>
      <p:sp>
        <p:nvSpPr>
          <p:cNvPr id="10" name="Rectangle: Rounded Corners 9">
            <a:extLst>
              <a:ext uri="{FF2B5EF4-FFF2-40B4-BE49-F238E27FC236}">
                <a16:creationId xmlns:a16="http://schemas.microsoft.com/office/drawing/2014/main" id="{084DBEDC-E246-446B-97DD-9C8425878A99}"/>
              </a:ext>
            </a:extLst>
          </p:cNvPr>
          <p:cNvSpPr/>
          <p:nvPr/>
        </p:nvSpPr>
        <p:spPr>
          <a:xfrm>
            <a:off x="219286" y="505564"/>
            <a:ext cx="11753636" cy="70284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en-US" dirty="0">
                <a:solidFill>
                  <a:schemeClr val="tx1"/>
                </a:solidFill>
              </a:rPr>
              <a:t>Lorem Ipsum</a:t>
            </a:r>
          </a:p>
        </p:txBody>
      </p:sp>
      <p:sp>
        <p:nvSpPr>
          <p:cNvPr id="14" name="Rectangle: Rounded Corners 13">
            <a:extLst>
              <a:ext uri="{FF2B5EF4-FFF2-40B4-BE49-F238E27FC236}">
                <a16:creationId xmlns:a16="http://schemas.microsoft.com/office/drawing/2014/main" id="{AEB98C33-93E7-402A-8FEA-890ABD453232}"/>
              </a:ext>
            </a:extLst>
          </p:cNvPr>
          <p:cNvSpPr/>
          <p:nvPr/>
        </p:nvSpPr>
        <p:spPr>
          <a:xfrm>
            <a:off x="457201" y="118666"/>
            <a:ext cx="2425397" cy="5379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Job Profile</a:t>
            </a:r>
          </a:p>
        </p:txBody>
      </p:sp>
      <p:sp>
        <p:nvSpPr>
          <p:cNvPr id="16" name="TextBox 15">
            <a:extLst>
              <a:ext uri="{FF2B5EF4-FFF2-40B4-BE49-F238E27FC236}">
                <a16:creationId xmlns:a16="http://schemas.microsoft.com/office/drawing/2014/main" id="{8F27D6A6-A1A6-4992-A2E5-8A65CFB0CF44}"/>
              </a:ext>
            </a:extLst>
          </p:cNvPr>
          <p:cNvSpPr txBox="1"/>
          <p:nvPr/>
        </p:nvSpPr>
        <p:spPr>
          <a:xfrm>
            <a:off x="457201" y="2071861"/>
            <a:ext cx="2425397" cy="2308324"/>
          </a:xfrm>
          <a:prstGeom prst="rect">
            <a:avLst/>
          </a:prstGeom>
          <a:noFill/>
        </p:spPr>
        <p:txBody>
          <a:bodyPr wrap="square" rtlCol="0">
            <a:spAutoFit/>
          </a:bodyPr>
          <a:lstStyle/>
          <a:p>
            <a:pPr marL="285750" indent="-285750">
              <a:buFont typeface="Arial" panose="020B0604020202020204" pitchFamily="34" charset="0"/>
              <a:buChar char="•"/>
            </a:pPr>
            <a:r>
              <a:rPr lang="en-US" dirty="0"/>
              <a:t>Banking domain</a:t>
            </a:r>
          </a:p>
          <a:p>
            <a:pPr marL="285750" indent="-285750">
              <a:buFont typeface="Arial" panose="020B0604020202020204" pitchFamily="34" charset="0"/>
              <a:buChar char="•"/>
            </a:pPr>
            <a:r>
              <a:rPr lang="en-US" dirty="0"/>
              <a:t>Retail</a:t>
            </a:r>
          </a:p>
          <a:p>
            <a:pPr marL="742950" lvl="1" indent="-285750">
              <a:buFont typeface="Arial" panose="020B0604020202020204" pitchFamily="34" charset="0"/>
              <a:buChar char="•"/>
            </a:pPr>
            <a:r>
              <a:rPr lang="en-US" dirty="0"/>
              <a:t>Segmentation/Clustering</a:t>
            </a:r>
          </a:p>
          <a:p>
            <a:pPr marL="285750" indent="-285750">
              <a:buFont typeface="Arial" panose="020B0604020202020204" pitchFamily="34" charset="0"/>
              <a:buChar char="•"/>
            </a:pPr>
            <a:r>
              <a:rPr lang="en-US" dirty="0"/>
              <a:t>Health care </a:t>
            </a:r>
          </a:p>
          <a:p>
            <a:pPr marL="742950" lvl="1" indent="-285750">
              <a:buFont typeface="Arial" panose="020B0604020202020204" pitchFamily="34" charset="0"/>
              <a:buChar char="•"/>
            </a:pPr>
            <a:r>
              <a:rPr lang="en-US" dirty="0"/>
              <a:t>Image scanning</a:t>
            </a:r>
          </a:p>
          <a:p>
            <a:pPr marL="742950" lvl="1" indent="-285750">
              <a:buFont typeface="Arial" panose="020B0604020202020204" pitchFamily="34" charset="0"/>
              <a:buChar char="•"/>
            </a:pPr>
            <a:r>
              <a:rPr lang="en-US" dirty="0"/>
              <a:t>Pattern recognition</a:t>
            </a:r>
          </a:p>
        </p:txBody>
      </p:sp>
      <p:sp>
        <p:nvSpPr>
          <p:cNvPr id="18" name="TextBox 17">
            <a:extLst>
              <a:ext uri="{FF2B5EF4-FFF2-40B4-BE49-F238E27FC236}">
                <a16:creationId xmlns:a16="http://schemas.microsoft.com/office/drawing/2014/main" id="{60113C28-3021-4F89-9A7C-DA2EFEEED222}"/>
              </a:ext>
            </a:extLst>
          </p:cNvPr>
          <p:cNvSpPr txBox="1"/>
          <p:nvPr/>
        </p:nvSpPr>
        <p:spPr>
          <a:xfrm>
            <a:off x="3025420" y="3321914"/>
            <a:ext cx="2954140" cy="1464231"/>
          </a:xfrm>
          <a:prstGeom prst="roundRect">
            <a:avLst/>
          </a:prstGeom>
          <a:solidFill>
            <a:schemeClr val="bg1">
              <a:lumMod val="95000"/>
            </a:schemeClr>
          </a:solidFill>
        </p:spPr>
        <p:txBody>
          <a:bodyPr wrap="square" rtlCol="0">
            <a:spAutoFit/>
          </a:bodyPr>
          <a:lstStyle/>
          <a:p>
            <a:r>
              <a:rPr lang="en-US" sz="1600" b="1" dirty="0"/>
              <a:t>Job Titles</a:t>
            </a:r>
          </a:p>
          <a:p>
            <a:pPr marL="285750" indent="-285750">
              <a:buFont typeface="Arial" panose="020B0604020202020204" pitchFamily="34" charset="0"/>
              <a:buChar char="•"/>
            </a:pPr>
            <a:r>
              <a:rPr lang="en-US" sz="1600" dirty="0"/>
              <a:t>Data Scientist</a:t>
            </a:r>
          </a:p>
          <a:p>
            <a:pPr marL="285750" indent="-285750">
              <a:buFont typeface="Arial" panose="020B0604020202020204" pitchFamily="34" charset="0"/>
              <a:buChar char="•"/>
            </a:pPr>
            <a:r>
              <a:rPr lang="en-US" sz="1600" dirty="0"/>
              <a:t>Machine Learning Scientist</a:t>
            </a:r>
          </a:p>
          <a:p>
            <a:pPr marL="285750" indent="-285750">
              <a:buFont typeface="Arial" panose="020B0604020202020204" pitchFamily="34" charset="0"/>
              <a:buChar char="•"/>
            </a:pPr>
            <a:r>
              <a:rPr lang="en-US" sz="1600" dirty="0"/>
              <a:t>Machine Learning Engineer</a:t>
            </a:r>
          </a:p>
          <a:p>
            <a:pPr marL="285750" indent="-285750">
              <a:buFont typeface="Arial" panose="020B0604020202020204" pitchFamily="34" charset="0"/>
              <a:buChar char="•"/>
            </a:pPr>
            <a:r>
              <a:rPr lang="en-US" sz="1600" dirty="0"/>
              <a:t>Data Science Engineer</a:t>
            </a:r>
          </a:p>
        </p:txBody>
      </p:sp>
      <p:sp>
        <p:nvSpPr>
          <p:cNvPr id="21" name="TextBox 20">
            <a:extLst>
              <a:ext uri="{FF2B5EF4-FFF2-40B4-BE49-F238E27FC236}">
                <a16:creationId xmlns:a16="http://schemas.microsoft.com/office/drawing/2014/main" id="{F74AE0AD-803A-4C08-A48B-F36814CBFE52}"/>
              </a:ext>
            </a:extLst>
          </p:cNvPr>
          <p:cNvSpPr txBox="1"/>
          <p:nvPr/>
        </p:nvSpPr>
        <p:spPr>
          <a:xfrm>
            <a:off x="6328882" y="2076069"/>
            <a:ext cx="4642206" cy="2931019"/>
          </a:xfrm>
          <a:prstGeom prst="rect">
            <a:avLst/>
          </a:prstGeom>
          <a:noFill/>
        </p:spPr>
        <p:txBody>
          <a:bodyPr wrap="square" rtlCol="0">
            <a:spAutoFit/>
          </a:bodyPr>
          <a:lstStyle/>
          <a:p>
            <a:pPr marL="285750" indent="-285750">
              <a:buFont typeface="Arial" panose="020B0604020202020204" pitchFamily="34" charset="0"/>
              <a:buChar char="•"/>
            </a:pPr>
            <a:r>
              <a:rPr lang="en-US" dirty="0"/>
              <a:t>Banking domain</a:t>
            </a:r>
          </a:p>
          <a:p>
            <a:pPr marL="742950" lvl="1" indent="-285750">
              <a:buFont typeface="Arial" panose="020B0604020202020204" pitchFamily="34" charset="0"/>
              <a:buChar char="•"/>
            </a:pPr>
            <a:r>
              <a:rPr lang="en-US" dirty="0"/>
              <a:t>Probability of default</a:t>
            </a:r>
          </a:p>
          <a:p>
            <a:pPr marL="742950" lvl="1" indent="-285750">
              <a:buFont typeface="Arial" panose="020B0604020202020204" pitchFamily="34" charset="0"/>
              <a:buChar char="•"/>
            </a:pPr>
            <a:r>
              <a:rPr lang="en-US" dirty="0"/>
              <a:t>Factors identification</a:t>
            </a:r>
          </a:p>
          <a:p>
            <a:pPr marL="285750" indent="-285750">
              <a:buFont typeface="Arial" panose="020B0604020202020204" pitchFamily="34" charset="0"/>
              <a:buChar char="•"/>
            </a:pPr>
            <a:r>
              <a:rPr lang="en-US" dirty="0"/>
              <a:t>Retail </a:t>
            </a:r>
          </a:p>
          <a:p>
            <a:pPr marL="742950" lvl="1" indent="-285750">
              <a:buFont typeface="Arial" panose="020B0604020202020204" pitchFamily="34" charset="0"/>
              <a:buChar char="•"/>
            </a:pPr>
            <a:r>
              <a:rPr lang="en-US" dirty="0"/>
              <a:t>Association Rules</a:t>
            </a:r>
          </a:p>
          <a:p>
            <a:pPr marL="742950" lvl="1" indent="-285750">
              <a:buFont typeface="Arial" panose="020B0604020202020204" pitchFamily="34" charset="0"/>
              <a:buChar char="•"/>
            </a:pPr>
            <a:r>
              <a:rPr lang="en-US" dirty="0"/>
              <a:t>Propensity to buy</a:t>
            </a:r>
          </a:p>
          <a:p>
            <a:pPr marL="285750" indent="-285750">
              <a:buFont typeface="Arial" panose="020B0604020202020204" pitchFamily="34" charset="0"/>
              <a:buChar char="•"/>
            </a:pPr>
            <a:r>
              <a:rPr lang="en-US" dirty="0"/>
              <a:t>Health care</a:t>
            </a:r>
          </a:p>
          <a:p>
            <a:pPr marL="742950" lvl="1" indent="-285750">
              <a:buFont typeface="Arial" panose="020B0604020202020204" pitchFamily="34" charset="0"/>
              <a:buChar char="•"/>
            </a:pPr>
            <a:r>
              <a:rPr lang="en-US" dirty="0"/>
              <a:t>Research</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22" name="TextBox 21">
            <a:extLst>
              <a:ext uri="{FF2B5EF4-FFF2-40B4-BE49-F238E27FC236}">
                <a16:creationId xmlns:a16="http://schemas.microsoft.com/office/drawing/2014/main" id="{B26838EC-E06A-488D-8EDB-E34A40786820}"/>
              </a:ext>
            </a:extLst>
          </p:cNvPr>
          <p:cNvSpPr txBox="1"/>
          <p:nvPr/>
        </p:nvSpPr>
        <p:spPr>
          <a:xfrm>
            <a:off x="161170" y="4786145"/>
            <a:ext cx="6035049" cy="2308324"/>
          </a:xfrm>
          <a:prstGeom prst="rect">
            <a:avLst/>
          </a:prstGeom>
          <a:noFill/>
        </p:spPr>
        <p:txBody>
          <a:bodyPr wrap="square" rtlCol="0">
            <a:spAutoFit/>
          </a:bodyPr>
          <a:lstStyle/>
          <a:p>
            <a:pPr marL="285750" indent="-285750">
              <a:buFont typeface="Arial" panose="020B0604020202020204" pitchFamily="34" charset="0"/>
              <a:buChar char="•"/>
            </a:pPr>
            <a:r>
              <a:rPr lang="en-US" dirty="0">
                <a:hlinkClick r:id="rId7"/>
              </a:rPr>
              <a:t>https://resources.workable.com/machine-learning-engineer-job-description#</a:t>
            </a:r>
            <a:endParaRPr lang="en-US" dirty="0"/>
          </a:p>
          <a:p>
            <a:pPr marL="285750" indent="-285750">
              <a:buFont typeface="Arial" panose="020B0604020202020204" pitchFamily="34" charset="0"/>
              <a:buChar char="•"/>
            </a:pPr>
            <a:r>
              <a:rPr lang="en-US" dirty="0">
                <a:hlinkClick r:id="rId8"/>
              </a:rPr>
              <a:t>https://www.prospects.ac.uk/job-profiles/machine-learning-engineer</a:t>
            </a:r>
            <a:endParaRPr lang="en-US" dirty="0"/>
          </a:p>
          <a:p>
            <a:pPr marL="285750" indent="-285750">
              <a:buFont typeface="Arial" panose="020B0604020202020204" pitchFamily="34" charset="0"/>
              <a:buChar char="•"/>
            </a:pPr>
            <a:r>
              <a:rPr lang="en-US" dirty="0">
                <a:hlinkClick r:id="rId9"/>
              </a:rPr>
              <a:t>https://www.betterteam.com/machine-learning-engineer-job-description</a:t>
            </a:r>
            <a:endParaRPr lang="en-US" dirty="0"/>
          </a:p>
          <a:p>
            <a:endParaRPr lang="en-US" dirty="0"/>
          </a:p>
          <a:p>
            <a:endParaRPr lang="en-US" dirty="0"/>
          </a:p>
        </p:txBody>
      </p:sp>
      <p:sp>
        <p:nvSpPr>
          <p:cNvPr id="23" name="TextBox 22">
            <a:extLst>
              <a:ext uri="{FF2B5EF4-FFF2-40B4-BE49-F238E27FC236}">
                <a16:creationId xmlns:a16="http://schemas.microsoft.com/office/drawing/2014/main" id="{343EDB43-75AB-4248-9B31-6640CDB50F27}"/>
              </a:ext>
            </a:extLst>
          </p:cNvPr>
          <p:cNvSpPr txBox="1"/>
          <p:nvPr/>
        </p:nvSpPr>
        <p:spPr>
          <a:xfrm>
            <a:off x="3404172" y="2043560"/>
            <a:ext cx="1957225" cy="923330"/>
          </a:xfrm>
          <a:prstGeom prst="rect">
            <a:avLst/>
          </a:prstGeom>
          <a:noFill/>
        </p:spPr>
        <p:txBody>
          <a:bodyPr wrap="square" rtlCol="0">
            <a:spAutoFit/>
          </a:bodyPr>
          <a:lstStyle/>
          <a:p>
            <a:pPr marL="285750" indent="-285750">
              <a:buFont typeface="Arial" panose="020B0604020202020204" pitchFamily="34" charset="0"/>
              <a:buChar char="•"/>
            </a:pPr>
            <a:r>
              <a:rPr lang="en-US" dirty="0"/>
              <a:t>Finance</a:t>
            </a:r>
          </a:p>
          <a:p>
            <a:pPr marL="285750" indent="-285750">
              <a:buFont typeface="Arial" panose="020B0604020202020204" pitchFamily="34" charset="0"/>
              <a:buChar char="•"/>
            </a:pPr>
            <a:r>
              <a:rPr lang="en-US" dirty="0"/>
              <a:t>Marketing</a:t>
            </a:r>
          </a:p>
          <a:p>
            <a:pPr marL="285750" indent="-285750">
              <a:buFont typeface="Arial" panose="020B0604020202020204" pitchFamily="34" charset="0"/>
              <a:buChar char="•"/>
            </a:pPr>
            <a:r>
              <a:rPr lang="en-US" dirty="0"/>
              <a:t>Sales</a:t>
            </a:r>
          </a:p>
        </p:txBody>
      </p:sp>
      <p:sp>
        <p:nvSpPr>
          <p:cNvPr id="24" name="TextBox 23">
            <a:extLst>
              <a:ext uri="{FF2B5EF4-FFF2-40B4-BE49-F238E27FC236}">
                <a16:creationId xmlns:a16="http://schemas.microsoft.com/office/drawing/2014/main" id="{BA7F9A21-644D-49CE-9B50-76CCB32859D8}"/>
              </a:ext>
            </a:extLst>
          </p:cNvPr>
          <p:cNvSpPr txBox="1"/>
          <p:nvPr/>
        </p:nvSpPr>
        <p:spPr>
          <a:xfrm>
            <a:off x="6212441" y="4786145"/>
            <a:ext cx="5918608" cy="1754326"/>
          </a:xfrm>
          <a:prstGeom prst="rect">
            <a:avLst/>
          </a:prstGeom>
          <a:noFill/>
        </p:spPr>
        <p:txBody>
          <a:bodyPr wrap="square">
            <a:spAutoFit/>
          </a:bodyPr>
          <a:lstStyle/>
          <a:p>
            <a:pPr marL="285750" indent="-285750">
              <a:buFont typeface="Arial" panose="020B0604020202020204" pitchFamily="34" charset="0"/>
              <a:buChar char="•"/>
            </a:pPr>
            <a:r>
              <a:rPr lang="en-US" dirty="0">
                <a:hlinkClick r:id="rId10"/>
              </a:rPr>
              <a:t>https://www.collegedekho.com/careers/statistician</a:t>
            </a:r>
            <a:endParaRPr lang="en-US" dirty="0"/>
          </a:p>
          <a:p>
            <a:pPr marL="285750" indent="-285750">
              <a:buFont typeface="Arial" panose="020B0604020202020204" pitchFamily="34" charset="0"/>
              <a:buChar char="•"/>
            </a:pPr>
            <a:r>
              <a:rPr lang="en-US" dirty="0">
                <a:hlinkClick r:id="rId11"/>
              </a:rPr>
              <a:t>https://snaphunt.com/resources/job-descriptions/statistician-job-description</a:t>
            </a:r>
            <a:endParaRPr lang="en-US" dirty="0"/>
          </a:p>
          <a:p>
            <a:pPr marL="285750" indent="-285750">
              <a:buFont typeface="Arial" panose="020B0604020202020204" pitchFamily="34" charset="0"/>
              <a:buChar char="•"/>
            </a:pPr>
            <a:r>
              <a:rPr lang="en-US" dirty="0">
                <a:hlinkClick r:id="rId12"/>
              </a:rPr>
              <a:t>https://www.glassdoor.co.in/Job-Descriptions/Statistician.htm</a:t>
            </a:r>
            <a:endParaRPr lang="en-US" dirty="0"/>
          </a:p>
          <a:p>
            <a:pPr marL="285750" indent="-285750">
              <a:buFont typeface="Arial" panose="020B0604020202020204" pitchFamily="34" charset="0"/>
              <a:buChar char="•"/>
            </a:pPr>
            <a:endParaRPr lang="en-US" dirty="0"/>
          </a:p>
        </p:txBody>
      </p:sp>
      <p:sp>
        <p:nvSpPr>
          <p:cNvPr id="26" name="TextBox 25">
            <a:extLst>
              <a:ext uri="{FF2B5EF4-FFF2-40B4-BE49-F238E27FC236}">
                <a16:creationId xmlns:a16="http://schemas.microsoft.com/office/drawing/2014/main" id="{61982007-F844-4579-B01E-7FACFB31341D}"/>
              </a:ext>
            </a:extLst>
          </p:cNvPr>
          <p:cNvSpPr txBox="1"/>
          <p:nvPr/>
        </p:nvSpPr>
        <p:spPr>
          <a:xfrm>
            <a:off x="9192962" y="3319194"/>
            <a:ext cx="2954140" cy="1191816"/>
          </a:xfrm>
          <a:prstGeom prst="roundRect">
            <a:avLst/>
          </a:prstGeom>
          <a:solidFill>
            <a:schemeClr val="bg1">
              <a:lumMod val="95000"/>
            </a:schemeClr>
          </a:solidFill>
        </p:spPr>
        <p:txBody>
          <a:bodyPr wrap="square" rtlCol="0">
            <a:spAutoFit/>
          </a:bodyPr>
          <a:lstStyle/>
          <a:p>
            <a:r>
              <a:rPr lang="en-US" sz="1600" b="1" dirty="0"/>
              <a:t>Job Titles</a:t>
            </a:r>
          </a:p>
          <a:p>
            <a:pPr marL="285750" indent="-285750">
              <a:buFont typeface="Arial" panose="020B0604020202020204" pitchFamily="34" charset="0"/>
              <a:buChar char="•"/>
            </a:pPr>
            <a:r>
              <a:rPr lang="en-US" sz="1600" dirty="0"/>
              <a:t>Statistician</a:t>
            </a:r>
          </a:p>
          <a:p>
            <a:pPr marL="285750" indent="-285750">
              <a:buFont typeface="Arial" panose="020B0604020202020204" pitchFamily="34" charset="0"/>
              <a:buChar char="•"/>
            </a:pPr>
            <a:r>
              <a:rPr lang="en-US" sz="1600" dirty="0"/>
              <a:t>Research Scientist</a:t>
            </a:r>
          </a:p>
          <a:p>
            <a:pPr marL="285750" indent="-285750">
              <a:buFont typeface="Arial" panose="020B0604020202020204" pitchFamily="34" charset="0"/>
              <a:buChar char="•"/>
            </a:pPr>
            <a:r>
              <a:rPr lang="en-US" sz="1600" dirty="0"/>
              <a:t>Data Scientist</a:t>
            </a:r>
          </a:p>
        </p:txBody>
      </p:sp>
    </p:spTree>
    <p:extLst>
      <p:ext uri="{BB962C8B-B14F-4D97-AF65-F5344CB8AC3E}">
        <p14:creationId xmlns:p14="http://schemas.microsoft.com/office/powerpoint/2010/main" val="3338697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4E2370-CA56-471C-998B-1D1437D402FF}"/>
              </a:ext>
            </a:extLst>
          </p:cNvPr>
          <p:cNvGraphicFramePr>
            <a:graphicFrameLocks noChangeAspect="1"/>
          </p:cNvGraphicFramePr>
          <p:nvPr>
            <p:custDataLst>
              <p:tags r:id="rId1"/>
            </p:custDataLst>
            <p:extLst>
              <p:ext uri="{D42A27DB-BD31-4B8C-83A1-F6EECF244321}">
                <p14:modId xmlns:p14="http://schemas.microsoft.com/office/powerpoint/2010/main" val="3651291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3C4E2370-CA56-471C-998B-1D1437D40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5A0F8346-EE55-4C5B-93E2-82E7A4869D8B}"/>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sp>
        <p:nvSpPr>
          <p:cNvPr id="2" name="Title 1">
            <a:extLst>
              <a:ext uri="{FF2B5EF4-FFF2-40B4-BE49-F238E27FC236}">
                <a16:creationId xmlns:a16="http://schemas.microsoft.com/office/drawing/2014/main" id="{84BDD3D6-8082-4D44-B5AF-FDB912767450}"/>
              </a:ext>
            </a:extLst>
          </p:cNvPr>
          <p:cNvSpPr>
            <a:spLocks noGrp="1"/>
          </p:cNvSpPr>
          <p:nvPr>
            <p:ph type="title"/>
          </p:nvPr>
        </p:nvSpPr>
        <p:spPr>
          <a:xfrm>
            <a:off x="334767" y="203681"/>
            <a:ext cx="10515600" cy="477356"/>
          </a:xfrm>
        </p:spPr>
        <p:txBody>
          <a:bodyPr vert="horz"/>
          <a:lstStyle/>
          <a:p>
            <a:r>
              <a:rPr lang="en-US" sz="1800" b="1" dirty="0">
                <a:effectLst/>
                <a:latin typeface="Calibri" panose="020F0502020204030204" pitchFamily="34" charset="0"/>
              </a:rPr>
              <a:t>Where is Deep learning come into picture?</a:t>
            </a:r>
            <a:endParaRPr lang="en-US" dirty="0"/>
          </a:p>
        </p:txBody>
      </p:sp>
      <p:pic>
        <p:nvPicPr>
          <p:cNvPr id="9" name="Picture 8">
            <a:extLst>
              <a:ext uri="{FF2B5EF4-FFF2-40B4-BE49-F238E27FC236}">
                <a16:creationId xmlns:a16="http://schemas.microsoft.com/office/drawing/2014/main" id="{F0922988-EE57-4774-98FB-ECBC4C8EAD23}"/>
              </a:ext>
            </a:extLst>
          </p:cNvPr>
          <p:cNvPicPr>
            <a:picLocks noChangeAspect="1"/>
          </p:cNvPicPr>
          <p:nvPr/>
        </p:nvPicPr>
        <p:blipFill>
          <a:blip r:embed="rId6"/>
          <a:stretch>
            <a:fillRect/>
          </a:stretch>
        </p:blipFill>
        <p:spPr>
          <a:xfrm>
            <a:off x="732545" y="1036674"/>
            <a:ext cx="9421548" cy="5411912"/>
          </a:xfrm>
          <a:prstGeom prst="rect">
            <a:avLst/>
          </a:prstGeom>
        </p:spPr>
      </p:pic>
    </p:spTree>
    <p:extLst>
      <p:ext uri="{BB962C8B-B14F-4D97-AF65-F5344CB8AC3E}">
        <p14:creationId xmlns:p14="http://schemas.microsoft.com/office/powerpoint/2010/main" val="2534784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380096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sz="4400" dirty="0">
                <a:latin typeface="Arial" panose="020B0604020202020204" pitchFamily="34" charset="0"/>
                <a:cs typeface="Arial" panose="020B0604020202020204" pitchFamily="34" charset="0"/>
              </a:rPr>
              <a:t>What skills are required to become a Data Scientist/ML expert</a:t>
            </a:r>
            <a:endParaRPr lang="en-US" dirty="0"/>
          </a:p>
        </p:txBody>
      </p:sp>
      <p:sp>
        <p:nvSpPr>
          <p:cNvPr id="4" name="object 2">
            <a:extLst>
              <a:ext uri="{FF2B5EF4-FFF2-40B4-BE49-F238E27FC236}">
                <a16:creationId xmlns:a16="http://schemas.microsoft.com/office/drawing/2014/main" id="{A7537B44-584C-4051-A411-C108D69E1CEC}"/>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6" name="Picture 5">
            <a:extLst>
              <a:ext uri="{FF2B5EF4-FFF2-40B4-BE49-F238E27FC236}">
                <a16:creationId xmlns:a16="http://schemas.microsoft.com/office/drawing/2014/main" id="{896B0529-E40A-43D1-9984-ADAC6B5FEAA6}"/>
              </a:ext>
            </a:extLst>
          </p:cNvPr>
          <p:cNvPicPr>
            <a:picLocks noChangeAspect="1"/>
          </p:cNvPicPr>
          <p:nvPr/>
        </p:nvPicPr>
        <p:blipFill>
          <a:blip r:embed="rId6"/>
          <a:stretch>
            <a:fillRect/>
          </a:stretch>
        </p:blipFill>
        <p:spPr>
          <a:xfrm>
            <a:off x="10633" y="114175"/>
            <a:ext cx="3547426" cy="1895571"/>
          </a:xfrm>
          <a:prstGeom prst="rect">
            <a:avLst/>
          </a:prstGeom>
        </p:spPr>
      </p:pic>
    </p:spTree>
    <p:extLst>
      <p:ext uri="{BB962C8B-B14F-4D97-AF65-F5344CB8AC3E}">
        <p14:creationId xmlns:p14="http://schemas.microsoft.com/office/powerpoint/2010/main" val="13910083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7D1953-3CE3-46B1-BDDE-3E10CA444A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387D1953-3CE3-46B1-BDDE-3E10CA444A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object 2">
            <a:extLst>
              <a:ext uri="{FF2B5EF4-FFF2-40B4-BE49-F238E27FC236}">
                <a16:creationId xmlns:a16="http://schemas.microsoft.com/office/drawing/2014/main" id="{739D980C-5B00-4687-85C9-1B3BEABDB96B}"/>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sp>
        <p:nvSpPr>
          <p:cNvPr id="10" name="Rectangle: Rounded Corners 9">
            <a:extLst>
              <a:ext uri="{FF2B5EF4-FFF2-40B4-BE49-F238E27FC236}">
                <a16:creationId xmlns:a16="http://schemas.microsoft.com/office/drawing/2014/main" id="{B5245949-B256-43FA-8B6F-AABF18BCD4E4}"/>
              </a:ext>
            </a:extLst>
          </p:cNvPr>
          <p:cNvSpPr/>
          <p:nvPr/>
        </p:nvSpPr>
        <p:spPr>
          <a:xfrm>
            <a:off x="219181" y="708918"/>
            <a:ext cx="7527533" cy="5862826"/>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333333"/>
                </a:solidFill>
                <a:cs typeface="Arial" panose="020B0604020202020204" pitchFamily="34" charset="0"/>
              </a:rPr>
              <a:t>Statistics –</a:t>
            </a:r>
          </a:p>
          <a:p>
            <a:pPr marL="285750" indent="-285750">
              <a:buFont typeface="Arial" panose="020B0604020202020204" pitchFamily="34" charset="0"/>
              <a:buChar char="•"/>
            </a:pPr>
            <a:r>
              <a:rPr lang="en-US" dirty="0">
                <a:solidFill>
                  <a:srgbClr val="333333"/>
                </a:solidFill>
                <a:cs typeface="Arial" panose="020B0604020202020204" pitchFamily="34" charset="0"/>
              </a:rPr>
              <a:t>Probability basic concepts</a:t>
            </a:r>
          </a:p>
          <a:p>
            <a:pPr marL="285750" indent="-285750">
              <a:buFont typeface="Arial" panose="020B0604020202020204" pitchFamily="34" charset="0"/>
              <a:buChar char="•"/>
            </a:pPr>
            <a:r>
              <a:rPr lang="en-US" dirty="0">
                <a:solidFill>
                  <a:srgbClr val="333333"/>
                </a:solidFill>
                <a:cs typeface="Arial" panose="020B0604020202020204" pitchFamily="34" charset="0"/>
              </a:rPr>
              <a:t>Hypothesis testing </a:t>
            </a:r>
          </a:p>
          <a:p>
            <a:endParaRPr lang="en-US" b="1" dirty="0">
              <a:solidFill>
                <a:srgbClr val="333333"/>
              </a:solidFill>
              <a:cs typeface="Arial" panose="020B0604020202020204" pitchFamily="34" charset="0"/>
            </a:endParaRPr>
          </a:p>
          <a:p>
            <a:r>
              <a:rPr lang="en-US" b="1" dirty="0">
                <a:solidFill>
                  <a:srgbClr val="333333"/>
                </a:solidFill>
                <a:cs typeface="Arial" panose="020B0604020202020204" pitchFamily="34" charset="0"/>
              </a:rPr>
              <a:t>Tool Knowledge -</a:t>
            </a:r>
          </a:p>
          <a:p>
            <a:pPr marL="285750" indent="-285750">
              <a:buFont typeface="Arial" panose="020B0604020202020204" pitchFamily="34" charset="0"/>
              <a:buChar char="•"/>
            </a:pPr>
            <a:r>
              <a:rPr lang="en-US" b="0" dirty="0">
                <a:solidFill>
                  <a:srgbClr val="333333"/>
                </a:solidFill>
                <a:cs typeface="Arial" panose="020B0604020202020204" pitchFamily="34" charset="0"/>
              </a:rPr>
              <a:t>Programming – Python/R </a:t>
            </a:r>
          </a:p>
          <a:p>
            <a:pPr marL="285750" indent="-285750">
              <a:buFont typeface="Arial" panose="020B0604020202020204" pitchFamily="34" charset="0"/>
              <a:buChar char="•"/>
            </a:pPr>
            <a:r>
              <a:rPr lang="en-US" dirty="0">
                <a:solidFill>
                  <a:srgbClr val="333333"/>
                </a:solidFill>
                <a:cs typeface="Arial" panose="020B0604020202020204" pitchFamily="34" charset="0"/>
              </a:rPr>
              <a:t>Database knowledge – SQL DB</a:t>
            </a:r>
          </a:p>
          <a:p>
            <a:pPr marL="285750" indent="-285750">
              <a:buFont typeface="Arial" panose="020B0604020202020204" pitchFamily="34" charset="0"/>
              <a:buChar char="•"/>
            </a:pPr>
            <a:r>
              <a:rPr lang="en-US" dirty="0">
                <a:solidFill>
                  <a:srgbClr val="333333"/>
                </a:solidFill>
                <a:cs typeface="Arial" panose="020B0604020202020204" pitchFamily="34" charset="0"/>
              </a:rPr>
              <a:t>Cloud/platform basic knowledge</a:t>
            </a:r>
          </a:p>
          <a:p>
            <a:endParaRPr lang="en-US" b="1" dirty="0">
              <a:solidFill>
                <a:srgbClr val="333333"/>
              </a:solidFill>
              <a:cs typeface="Arial" panose="020B0604020202020204" pitchFamily="34" charset="0"/>
            </a:endParaRPr>
          </a:p>
          <a:p>
            <a:r>
              <a:rPr lang="en-US" b="1" dirty="0">
                <a:solidFill>
                  <a:srgbClr val="333333"/>
                </a:solidFill>
                <a:cs typeface="Arial" panose="020B0604020202020204" pitchFamily="34" charset="0"/>
              </a:rPr>
              <a:t>Techniques/Technical knowledge –</a:t>
            </a:r>
          </a:p>
          <a:p>
            <a:pPr marL="285750" indent="-285750">
              <a:buFont typeface="Arial" panose="020B0604020202020204" pitchFamily="34" charset="0"/>
              <a:buChar char="•"/>
            </a:pPr>
            <a:r>
              <a:rPr lang="en-US" dirty="0">
                <a:solidFill>
                  <a:srgbClr val="333333"/>
                </a:solidFill>
                <a:cs typeface="Arial" panose="020B0604020202020204" pitchFamily="34" charset="0"/>
              </a:rPr>
              <a:t>ML algorithms</a:t>
            </a:r>
          </a:p>
          <a:p>
            <a:pPr marL="742950" lvl="1" indent="-285750">
              <a:buFont typeface="Arial" panose="020B0604020202020204" pitchFamily="34" charset="0"/>
              <a:buChar char="•"/>
            </a:pPr>
            <a:r>
              <a:rPr lang="en-US" dirty="0">
                <a:solidFill>
                  <a:srgbClr val="333333"/>
                </a:solidFill>
                <a:cs typeface="Arial" panose="020B0604020202020204" pitchFamily="34" charset="0"/>
              </a:rPr>
              <a:t>Supervised</a:t>
            </a:r>
          </a:p>
          <a:p>
            <a:pPr marL="742950" lvl="1" indent="-285750">
              <a:buFont typeface="Arial" panose="020B0604020202020204" pitchFamily="34" charset="0"/>
              <a:buChar char="•"/>
            </a:pPr>
            <a:r>
              <a:rPr lang="en-US" dirty="0">
                <a:solidFill>
                  <a:srgbClr val="333333"/>
                </a:solidFill>
                <a:cs typeface="Arial" panose="020B0604020202020204" pitchFamily="34" charset="0"/>
              </a:rPr>
              <a:t>Unsupervised</a:t>
            </a:r>
          </a:p>
          <a:p>
            <a:pPr marL="285750" indent="-285750">
              <a:buFont typeface="Arial" panose="020B0604020202020204" pitchFamily="34" charset="0"/>
              <a:buChar char="•"/>
            </a:pPr>
            <a:endParaRPr lang="en-US" dirty="0">
              <a:solidFill>
                <a:srgbClr val="333333"/>
              </a:solidFill>
              <a:cs typeface="Arial" panose="020B0604020202020204" pitchFamily="34" charset="0"/>
            </a:endParaRPr>
          </a:p>
          <a:p>
            <a:r>
              <a:rPr lang="en-US" b="1" dirty="0">
                <a:solidFill>
                  <a:srgbClr val="333333"/>
                </a:solidFill>
                <a:cs typeface="Arial" panose="020B0604020202020204" pitchFamily="34" charset="0"/>
              </a:rPr>
              <a:t>Domain Knowledge –</a:t>
            </a:r>
          </a:p>
          <a:p>
            <a:pPr marL="285750" indent="-285750">
              <a:buFont typeface="Arial" panose="020B0604020202020204" pitchFamily="34" charset="0"/>
              <a:buChar char="•"/>
            </a:pPr>
            <a:r>
              <a:rPr lang="en-US" dirty="0">
                <a:solidFill>
                  <a:srgbClr val="333333"/>
                </a:solidFill>
                <a:cs typeface="Arial" panose="020B0604020202020204" pitchFamily="34" charset="0"/>
              </a:rPr>
              <a:t>Story telling with data</a:t>
            </a:r>
          </a:p>
          <a:p>
            <a:endParaRPr lang="en-US" dirty="0">
              <a:solidFill>
                <a:srgbClr val="333333"/>
              </a:solidFill>
              <a:cs typeface="Arial" panose="020B0604020202020204" pitchFamily="34" charset="0"/>
            </a:endParaRPr>
          </a:p>
          <a:p>
            <a:r>
              <a:rPr lang="en-US" b="1" dirty="0">
                <a:solidFill>
                  <a:srgbClr val="333333"/>
                </a:solidFill>
                <a:cs typeface="Arial" panose="020B0604020202020204" pitchFamily="34" charset="0"/>
              </a:rPr>
              <a:t>Analytical thinking</a:t>
            </a:r>
          </a:p>
        </p:txBody>
      </p:sp>
      <p:sp>
        <p:nvSpPr>
          <p:cNvPr id="11" name="Rectangle: Rounded Corners 10">
            <a:extLst>
              <a:ext uri="{FF2B5EF4-FFF2-40B4-BE49-F238E27FC236}">
                <a16:creationId xmlns:a16="http://schemas.microsoft.com/office/drawing/2014/main" id="{9624EC1E-0853-4C25-9CD8-5D74E5EDF395}"/>
              </a:ext>
            </a:extLst>
          </p:cNvPr>
          <p:cNvSpPr/>
          <p:nvPr/>
        </p:nvSpPr>
        <p:spPr>
          <a:xfrm>
            <a:off x="770562" y="306804"/>
            <a:ext cx="6236413" cy="5870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Skills to be learnt to become a Data Scientist/ML </a:t>
            </a:r>
          </a:p>
        </p:txBody>
      </p:sp>
    </p:spTree>
    <p:extLst>
      <p:ext uri="{BB962C8B-B14F-4D97-AF65-F5344CB8AC3E}">
        <p14:creationId xmlns:p14="http://schemas.microsoft.com/office/powerpoint/2010/main" val="2021129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02C3E6-09F3-4420-865E-E17E3980A263}"/>
              </a:ext>
            </a:extLst>
          </p:cNvPr>
          <p:cNvGraphicFramePr>
            <a:graphicFrameLocks noChangeAspect="1"/>
          </p:cNvGraphicFramePr>
          <p:nvPr>
            <p:custDataLst>
              <p:tags r:id="rId1"/>
            </p:custDataLst>
            <p:extLst>
              <p:ext uri="{D42A27DB-BD31-4B8C-83A1-F6EECF244321}">
                <p14:modId xmlns:p14="http://schemas.microsoft.com/office/powerpoint/2010/main" val="261731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9202C3E6-09F3-4420-865E-E17E3980A2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05F160-E40B-45CF-8172-E7FD58714C6F}"/>
              </a:ext>
            </a:extLst>
          </p:cNvPr>
          <p:cNvSpPr>
            <a:spLocks noGrp="1"/>
          </p:cNvSpPr>
          <p:nvPr>
            <p:ph type="title"/>
          </p:nvPr>
        </p:nvSpPr>
        <p:spPr>
          <a:xfrm>
            <a:off x="558766" y="2841273"/>
            <a:ext cx="10515600" cy="497904"/>
          </a:xfrm>
        </p:spPr>
        <p:txBody>
          <a:bodyPr vert="horz">
            <a:normAutofit fontScale="90000"/>
          </a:bodyPr>
          <a:lstStyle/>
          <a:p>
            <a:pPr algn="ctr"/>
            <a:r>
              <a:rPr lang="en-US" sz="3200" b="1" dirty="0">
                <a:effectLst/>
                <a:latin typeface="Calibri" panose="020F0502020204030204" pitchFamily="34" charset="0"/>
              </a:rPr>
              <a:t>APPENDIX </a:t>
            </a:r>
            <a:endParaRPr lang="en-US" sz="6000" dirty="0"/>
          </a:p>
        </p:txBody>
      </p:sp>
    </p:spTree>
    <p:extLst>
      <p:ext uri="{BB962C8B-B14F-4D97-AF65-F5344CB8AC3E}">
        <p14:creationId xmlns:p14="http://schemas.microsoft.com/office/powerpoint/2010/main" val="3016253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0C0B2-7F36-4096-A9E1-6A2BACDC0880}"/>
              </a:ext>
            </a:extLst>
          </p:cNvPr>
          <p:cNvGraphicFramePr>
            <a:graphicFrameLocks noChangeAspect="1"/>
          </p:cNvGraphicFramePr>
          <p:nvPr>
            <p:custDataLst>
              <p:tags r:id="rId1"/>
            </p:custDataLst>
            <p:extLst>
              <p:ext uri="{D42A27DB-BD31-4B8C-83A1-F6EECF244321}">
                <p14:modId xmlns:p14="http://schemas.microsoft.com/office/powerpoint/2010/main" val="2151795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F30C0B2-7F36-4096-A9E1-6A2BACDC08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3DD833FC-7952-4DBB-9402-DB6FA27E0926}"/>
              </a:ext>
            </a:extLst>
          </p:cNvPr>
          <p:cNvSpPr/>
          <p:nvPr/>
        </p:nvSpPr>
        <p:spPr>
          <a:xfrm>
            <a:off x="0" y="0"/>
            <a:ext cx="12191999" cy="2073349"/>
          </a:xfrm>
          <a:prstGeom prst="rect">
            <a:avLst/>
          </a:prstGeom>
          <a:blipFill>
            <a:blip r:embed="rId6" cstate="print"/>
            <a:stretch>
              <a:fillRect/>
            </a:stretch>
          </a:blipFill>
        </p:spPr>
        <p:txBody>
          <a:bodyPr wrap="square" lIns="0" tIns="0" rIns="0" bIns="0" rtlCol="0"/>
          <a:lstStyle/>
          <a:p>
            <a:endParaRPr/>
          </a:p>
        </p:txBody>
      </p:sp>
      <p:sp>
        <p:nvSpPr>
          <p:cNvPr id="2" name="Title 1">
            <a:extLst>
              <a:ext uri="{FF2B5EF4-FFF2-40B4-BE49-F238E27FC236}">
                <a16:creationId xmlns:a16="http://schemas.microsoft.com/office/drawing/2014/main" id="{612A58B0-D056-4013-916C-2A566B6CAE75}"/>
              </a:ext>
            </a:extLst>
          </p:cNvPr>
          <p:cNvSpPr>
            <a:spLocks noGrp="1"/>
          </p:cNvSpPr>
          <p:nvPr>
            <p:ph type="title"/>
          </p:nvPr>
        </p:nvSpPr>
        <p:spPr/>
        <p:txBody>
          <a:bodyPr vert="horz"/>
          <a:lstStyle/>
          <a:p>
            <a:r>
              <a:rPr lang="en-US" dirty="0"/>
              <a:t>Use cases</a:t>
            </a:r>
          </a:p>
        </p:txBody>
      </p:sp>
      <p:sp>
        <p:nvSpPr>
          <p:cNvPr id="3" name="Content Placeholder 2">
            <a:extLst>
              <a:ext uri="{FF2B5EF4-FFF2-40B4-BE49-F238E27FC236}">
                <a16:creationId xmlns:a16="http://schemas.microsoft.com/office/drawing/2014/main" id="{D59DE2E0-9B91-4525-ACD1-8EFED52E2577}"/>
              </a:ext>
            </a:extLst>
          </p:cNvPr>
          <p:cNvSpPr>
            <a:spLocks noGrp="1"/>
          </p:cNvSpPr>
          <p:nvPr>
            <p:ph idx="1"/>
          </p:nvPr>
        </p:nvSpPr>
        <p:spPr/>
        <p:txBody>
          <a:bodyPr>
            <a:normAutofit fontScale="70000" lnSpcReduction="20000"/>
          </a:bodyPr>
          <a:lstStyle/>
          <a:p>
            <a:pPr algn="l" fontAlgn="base"/>
            <a:r>
              <a:rPr lang="en-US" b="0" i="0" dirty="0">
                <a:effectLst/>
                <a:latin typeface="proxima-nova"/>
              </a:rPr>
              <a:t>The objective of machine learning varies depending on what field it’s deployed in. Some examples include:</a:t>
            </a:r>
          </a:p>
          <a:p>
            <a:pPr algn="l" fontAlgn="base"/>
            <a:r>
              <a:rPr lang="en-US" b="1" i="0" dirty="0">
                <a:effectLst/>
                <a:latin typeface="proxima-nova"/>
              </a:rPr>
              <a:t>Financial services</a:t>
            </a:r>
            <a:r>
              <a:rPr lang="en-US" b="0" i="0" dirty="0">
                <a:effectLst/>
                <a:latin typeface="proxima-nova"/>
              </a:rPr>
              <a:t> – data can be </a:t>
            </a:r>
            <a:r>
              <a:rPr lang="en-US" b="0" i="0" dirty="0" err="1">
                <a:effectLst/>
                <a:latin typeface="proxima-nova"/>
              </a:rPr>
              <a:t>analysed</a:t>
            </a:r>
            <a:r>
              <a:rPr lang="en-US" b="0" i="0" dirty="0">
                <a:effectLst/>
                <a:latin typeface="proxima-nova"/>
              </a:rPr>
              <a:t> and machine intelligence can help spot investment trends so helping investors plan their trading and for institutions to prevent fraud.</a:t>
            </a:r>
          </a:p>
          <a:p>
            <a:pPr algn="l" fontAlgn="base"/>
            <a:r>
              <a:rPr lang="en-US" b="1" i="0" dirty="0">
                <a:effectLst/>
                <a:latin typeface="proxima-nova"/>
              </a:rPr>
              <a:t>Governmental</a:t>
            </a:r>
            <a:r>
              <a:rPr lang="en-US" b="0" i="0" dirty="0">
                <a:effectLst/>
                <a:latin typeface="proxima-nova"/>
              </a:rPr>
              <a:t> – machine intelligence can help identify ways for cost savings to be made so improving efficiency and </a:t>
            </a:r>
            <a:r>
              <a:rPr lang="en-US" b="0" i="0" dirty="0" err="1">
                <a:effectLst/>
                <a:latin typeface="proxima-nova"/>
              </a:rPr>
              <a:t>maximising</a:t>
            </a:r>
            <a:r>
              <a:rPr lang="en-US" b="0" i="0" dirty="0">
                <a:effectLst/>
                <a:latin typeface="proxima-nova"/>
              </a:rPr>
              <a:t> budgets.</a:t>
            </a:r>
          </a:p>
          <a:p>
            <a:pPr algn="l" fontAlgn="base"/>
            <a:r>
              <a:rPr lang="en-US" b="1" i="0" dirty="0">
                <a:effectLst/>
                <a:latin typeface="proxima-nova"/>
              </a:rPr>
              <a:t>Health</a:t>
            </a:r>
            <a:r>
              <a:rPr lang="en-US" b="0" i="0" dirty="0">
                <a:effectLst/>
                <a:latin typeface="proxima-nova"/>
              </a:rPr>
              <a:t> – data can be </a:t>
            </a:r>
            <a:r>
              <a:rPr lang="en-US" b="0" i="0" dirty="0" err="1">
                <a:effectLst/>
                <a:latin typeface="proxima-nova"/>
              </a:rPr>
              <a:t>analysed</a:t>
            </a:r>
            <a:r>
              <a:rPr lang="en-US" b="0" i="0" dirty="0">
                <a:effectLst/>
                <a:latin typeface="proxima-nova"/>
              </a:rPr>
              <a:t> to identify trends and improve diagnosis; the increase in wearable tech and sensors produce considerable data about patients that machine intelligence can make use of.</a:t>
            </a:r>
          </a:p>
          <a:p>
            <a:pPr algn="l" fontAlgn="base"/>
            <a:r>
              <a:rPr lang="en-US" b="1" i="0" dirty="0">
                <a:effectLst/>
                <a:latin typeface="proxima-nova"/>
              </a:rPr>
              <a:t>Retail</a:t>
            </a:r>
            <a:r>
              <a:rPr lang="en-US" b="0" i="0" dirty="0">
                <a:effectLst/>
                <a:latin typeface="proxima-nova"/>
              </a:rPr>
              <a:t> – the objective of machine learning is usually to help retailers understand their customers better and </a:t>
            </a:r>
            <a:r>
              <a:rPr lang="en-US" b="0" i="0" dirty="0" err="1">
                <a:effectLst/>
                <a:latin typeface="proxima-nova"/>
              </a:rPr>
              <a:t>personalise</a:t>
            </a:r>
            <a:r>
              <a:rPr lang="en-US" b="0" i="0" dirty="0">
                <a:effectLst/>
                <a:latin typeface="proxima-nova"/>
              </a:rPr>
              <a:t> their interactions; websites recommending purchases based on the customer’s buying history or web pages visited is a classic case of machine learning in action.</a:t>
            </a:r>
          </a:p>
          <a:p>
            <a:pPr algn="l" fontAlgn="base"/>
            <a:r>
              <a:rPr lang="en-US" b="1" i="0" dirty="0">
                <a:effectLst/>
                <a:latin typeface="proxima-nova"/>
              </a:rPr>
              <a:t>Fraud</a:t>
            </a:r>
            <a:r>
              <a:rPr lang="en-US" b="0" i="0" dirty="0">
                <a:effectLst/>
                <a:latin typeface="proxima-nova"/>
              </a:rPr>
              <a:t> – the increased use of systems and activities such as online shopping and financial transactions increases fraudulent </a:t>
            </a:r>
            <a:r>
              <a:rPr lang="en-US" b="0" i="0" dirty="0" err="1">
                <a:effectLst/>
                <a:latin typeface="proxima-nova"/>
              </a:rPr>
              <a:t>behaviour</a:t>
            </a:r>
            <a:r>
              <a:rPr lang="en-US" b="0" i="0" dirty="0">
                <a:effectLst/>
                <a:latin typeface="proxima-nova"/>
              </a:rPr>
              <a:t>, so another objective of machine learning in business is to help </a:t>
            </a:r>
            <a:r>
              <a:rPr lang="en-US" b="0" i="0" dirty="0" err="1">
                <a:effectLst/>
                <a:latin typeface="proxima-nova"/>
              </a:rPr>
              <a:t>organisations</a:t>
            </a:r>
            <a:r>
              <a:rPr lang="en-US" b="0" i="0" dirty="0">
                <a:effectLst/>
                <a:latin typeface="proxima-nova"/>
              </a:rPr>
              <a:t> combat losses through fraud.</a:t>
            </a:r>
          </a:p>
        </p:txBody>
      </p:sp>
    </p:spTree>
    <p:extLst>
      <p:ext uri="{BB962C8B-B14F-4D97-AF65-F5344CB8AC3E}">
        <p14:creationId xmlns:p14="http://schemas.microsoft.com/office/powerpoint/2010/main" val="191205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2022989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sz="4400" dirty="0">
                <a:latin typeface="+mn-lt"/>
                <a:cs typeface="Arial" panose="020B0604020202020204" pitchFamily="34" charset="0"/>
              </a:rPr>
              <a:t>What is Statistics?</a:t>
            </a:r>
            <a:endParaRPr lang="en-US" dirty="0">
              <a:latin typeface="+mn-lt"/>
            </a:endParaRPr>
          </a:p>
        </p:txBody>
      </p:sp>
      <p:sp>
        <p:nvSpPr>
          <p:cNvPr id="6" name="object 2">
            <a:extLst>
              <a:ext uri="{FF2B5EF4-FFF2-40B4-BE49-F238E27FC236}">
                <a16:creationId xmlns:a16="http://schemas.microsoft.com/office/drawing/2014/main" id="{CB11C49D-AE25-420B-9AB9-DBC2E5F0C367}"/>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7" name="Picture 6">
            <a:extLst>
              <a:ext uri="{FF2B5EF4-FFF2-40B4-BE49-F238E27FC236}">
                <a16:creationId xmlns:a16="http://schemas.microsoft.com/office/drawing/2014/main" id="{B569CCCB-9013-409E-9643-B80466B251E9}"/>
              </a:ext>
            </a:extLst>
          </p:cNvPr>
          <p:cNvPicPr>
            <a:picLocks noChangeAspect="1"/>
          </p:cNvPicPr>
          <p:nvPr/>
        </p:nvPicPr>
        <p:blipFill>
          <a:blip r:embed="rId6"/>
          <a:stretch>
            <a:fillRect/>
          </a:stretch>
        </p:blipFill>
        <p:spPr>
          <a:xfrm>
            <a:off x="10633" y="186093"/>
            <a:ext cx="3547426" cy="1895571"/>
          </a:xfrm>
          <a:prstGeom prst="rect">
            <a:avLst/>
          </a:prstGeom>
        </p:spPr>
      </p:pic>
    </p:spTree>
    <p:extLst>
      <p:ext uri="{BB962C8B-B14F-4D97-AF65-F5344CB8AC3E}">
        <p14:creationId xmlns:p14="http://schemas.microsoft.com/office/powerpoint/2010/main" val="1051724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7D1953-3CE3-46B1-BDDE-3E10CA444A0D}"/>
              </a:ext>
            </a:extLst>
          </p:cNvPr>
          <p:cNvGraphicFramePr>
            <a:graphicFrameLocks noChangeAspect="1"/>
          </p:cNvGraphicFramePr>
          <p:nvPr>
            <p:custDataLst>
              <p:tags r:id="rId1"/>
            </p:custDataLst>
            <p:extLst>
              <p:ext uri="{D42A27DB-BD31-4B8C-83A1-F6EECF244321}">
                <p14:modId xmlns:p14="http://schemas.microsoft.com/office/powerpoint/2010/main" val="428296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387D1953-3CE3-46B1-BDDE-3E10CA444A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object 2">
            <a:extLst>
              <a:ext uri="{FF2B5EF4-FFF2-40B4-BE49-F238E27FC236}">
                <a16:creationId xmlns:a16="http://schemas.microsoft.com/office/drawing/2014/main" id="{739D980C-5B00-4687-85C9-1B3BEABDB96B}"/>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sp>
        <p:nvSpPr>
          <p:cNvPr id="13" name="Rectangle: Rounded Corners 12">
            <a:extLst>
              <a:ext uri="{FF2B5EF4-FFF2-40B4-BE49-F238E27FC236}">
                <a16:creationId xmlns:a16="http://schemas.microsoft.com/office/drawing/2014/main" id="{58154565-9826-4701-9FD3-69E7D2934C2E}"/>
              </a:ext>
            </a:extLst>
          </p:cNvPr>
          <p:cNvSpPr/>
          <p:nvPr/>
        </p:nvSpPr>
        <p:spPr>
          <a:xfrm>
            <a:off x="219182" y="3429000"/>
            <a:ext cx="11753636" cy="172605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effectLst/>
              <a:latin typeface="Arial" panose="020B0604020202020204" pitchFamily="34" charset="0"/>
              <a:cs typeface="Arial" panose="020B0604020202020204" pitchFamily="34" charset="0"/>
            </a:endParaRPr>
          </a:p>
          <a:p>
            <a:r>
              <a:rPr lang="en-US" dirty="0">
                <a:solidFill>
                  <a:schemeClr val="tx1"/>
                </a:solidFill>
                <a:effectLst/>
                <a:cs typeface="Arial" panose="020B0604020202020204" pitchFamily="34" charset="0"/>
              </a:rPr>
              <a:t>A mathematical formation/equation to a theoretical concept -</a:t>
            </a:r>
          </a:p>
          <a:p>
            <a:pPr marL="0" marR="0">
              <a:spcBef>
                <a:spcPts val="0"/>
              </a:spcBef>
              <a:spcAft>
                <a:spcPts val="0"/>
              </a:spcAft>
            </a:pPr>
            <a:endParaRPr lang="en-US" b="1" dirty="0">
              <a:solidFill>
                <a:schemeClr val="tx1"/>
              </a:solidFill>
              <a:cs typeface="Arial" panose="020B0604020202020204" pitchFamily="34" charset="0"/>
            </a:endParaRPr>
          </a:p>
          <a:p>
            <a:pPr marL="0" marR="0">
              <a:spcBef>
                <a:spcPts val="0"/>
              </a:spcBef>
              <a:spcAft>
                <a:spcPts val="0"/>
              </a:spcAft>
            </a:pPr>
            <a:r>
              <a:rPr lang="en-US" b="1" dirty="0">
                <a:solidFill>
                  <a:schemeClr val="tx1"/>
                </a:solidFill>
                <a:cs typeface="Arial" panose="020B0604020202020204" pitchFamily="34" charset="0"/>
              </a:rPr>
              <a:t>Revenue Model - </a:t>
            </a:r>
          </a:p>
          <a:p>
            <a:pPr marL="0" marR="0">
              <a:spcBef>
                <a:spcPts val="0"/>
              </a:spcBef>
              <a:spcAft>
                <a:spcPts val="0"/>
              </a:spcAft>
            </a:pPr>
            <a:r>
              <a:rPr lang="en-US" b="1" dirty="0">
                <a:solidFill>
                  <a:schemeClr val="tx1"/>
                </a:solidFill>
                <a:cs typeface="Arial" panose="020B0604020202020204" pitchFamily="34" charset="0"/>
              </a:rPr>
              <a:t>Revenue</a:t>
            </a:r>
            <a:r>
              <a:rPr lang="en-US" dirty="0">
                <a:solidFill>
                  <a:schemeClr val="tx1"/>
                </a:solidFill>
                <a:cs typeface="Arial" panose="020B0604020202020204" pitchFamily="34" charset="0"/>
              </a:rPr>
              <a:t> = </a:t>
            </a:r>
            <a:r>
              <a:rPr lang="en-US" b="1" i="1" u="sng" dirty="0">
                <a:solidFill>
                  <a:schemeClr val="tx1"/>
                </a:solidFill>
                <a:cs typeface="Arial" panose="020B0604020202020204" pitchFamily="34" charset="0"/>
              </a:rPr>
              <a:t>beta</a:t>
            </a:r>
            <a:r>
              <a:rPr lang="en-US" dirty="0">
                <a:solidFill>
                  <a:schemeClr val="tx1"/>
                </a:solidFill>
                <a:cs typeface="Arial" panose="020B0604020202020204" pitchFamily="34" charset="0"/>
              </a:rPr>
              <a:t>*Marketing Expenditure + Fixed Unknown </a:t>
            </a:r>
            <a:r>
              <a:rPr lang="en-US" b="1" dirty="0">
                <a:solidFill>
                  <a:schemeClr val="tx1"/>
                </a:solidFill>
                <a:cs typeface="Arial" panose="020B0604020202020204" pitchFamily="34" charset="0"/>
              </a:rPr>
              <a:t>(y = mx +c)</a:t>
            </a:r>
          </a:p>
          <a:p>
            <a:pPr marL="0" marR="0">
              <a:spcBef>
                <a:spcPts val="0"/>
              </a:spcBef>
              <a:spcAft>
                <a:spcPts val="0"/>
              </a:spcAft>
            </a:pPr>
            <a:endParaRPr lang="en-US" sz="1800" dirty="0">
              <a:effectLst/>
              <a:latin typeface="Calibri" panose="020F0502020204030204" pitchFamily="34" charset="0"/>
            </a:endParaRPr>
          </a:p>
        </p:txBody>
      </p:sp>
      <p:sp>
        <p:nvSpPr>
          <p:cNvPr id="10" name="Rectangle: Rounded Corners 9">
            <a:extLst>
              <a:ext uri="{FF2B5EF4-FFF2-40B4-BE49-F238E27FC236}">
                <a16:creationId xmlns:a16="http://schemas.microsoft.com/office/drawing/2014/main" id="{B5245949-B256-43FA-8B6F-AABF18BCD4E4}"/>
              </a:ext>
            </a:extLst>
          </p:cNvPr>
          <p:cNvSpPr/>
          <p:nvPr/>
        </p:nvSpPr>
        <p:spPr>
          <a:xfrm>
            <a:off x="219182" y="708917"/>
            <a:ext cx="11753636" cy="1880171"/>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0" dirty="0">
                <a:solidFill>
                  <a:srgbClr val="4A4A4A"/>
                </a:solidFill>
                <a:effectLst/>
              </a:rPr>
              <a:t>Statistics is an area of applied mathematics concerned with data collection, analysis, interpretation, and presentation. This area of mathematics </a:t>
            </a:r>
            <a:r>
              <a:rPr lang="en-US" b="0" i="0" dirty="0">
                <a:solidFill>
                  <a:srgbClr val="4A4A4A"/>
                </a:solidFill>
                <a:effectLst/>
              </a:rPr>
              <a:t>deals with understanding how data can be used to solve complex problems.</a:t>
            </a:r>
            <a:endParaRPr lang="en-US" dirty="0">
              <a:solidFill>
                <a:schemeClr val="tx1"/>
              </a:solidFill>
              <a:effectLst/>
              <a:cs typeface="Arial" panose="020B0604020202020204" pitchFamily="34" charset="0"/>
            </a:endParaRPr>
          </a:p>
          <a:p>
            <a:endParaRPr lang="en-US" dirty="0">
              <a:solidFill>
                <a:schemeClr val="tx1"/>
              </a:solidFill>
              <a:cs typeface="Arial" panose="020B0604020202020204" pitchFamily="34" charset="0"/>
            </a:endParaRPr>
          </a:p>
          <a:p>
            <a:r>
              <a:rPr lang="en-US" b="0" i="1" dirty="0">
                <a:solidFill>
                  <a:srgbClr val="333333"/>
                </a:solidFill>
                <a:cs typeface="Arial" panose="020B0604020202020204" pitchFamily="34" charset="0"/>
              </a:rPr>
              <a:t>“</a:t>
            </a:r>
            <a:r>
              <a:rPr lang="en-US" b="0" i="1" dirty="0">
                <a:solidFill>
                  <a:srgbClr val="333333"/>
                </a:solidFill>
                <a:effectLst/>
                <a:cs typeface="Arial" panose="020B0604020202020204" pitchFamily="34" charset="0"/>
              </a:rPr>
              <a:t>Statistics has been the most successful information science</a:t>
            </a:r>
            <a:r>
              <a:rPr lang="en-US" b="0" i="1" dirty="0">
                <a:solidFill>
                  <a:srgbClr val="333333"/>
                </a:solidFill>
                <a:cs typeface="Arial" panose="020B0604020202020204" pitchFamily="34" charset="0"/>
              </a:rPr>
              <a:t>” </a:t>
            </a:r>
            <a:r>
              <a:rPr lang="en-US" i="1" dirty="0">
                <a:solidFill>
                  <a:srgbClr val="333333"/>
                </a:solidFill>
                <a:cs typeface="Arial" panose="020B0604020202020204" pitchFamily="34" charset="0"/>
              </a:rPr>
              <a:t>- </a:t>
            </a:r>
            <a:r>
              <a:rPr lang="en-US" b="0" i="1" dirty="0">
                <a:solidFill>
                  <a:srgbClr val="333333"/>
                </a:solidFill>
                <a:cs typeface="Arial" panose="020B0604020202020204" pitchFamily="34" charset="0"/>
              </a:rPr>
              <a:t>Brad Efron</a:t>
            </a:r>
          </a:p>
        </p:txBody>
      </p:sp>
      <p:sp>
        <p:nvSpPr>
          <p:cNvPr id="11" name="Rectangle: Rounded Corners 10">
            <a:extLst>
              <a:ext uri="{FF2B5EF4-FFF2-40B4-BE49-F238E27FC236}">
                <a16:creationId xmlns:a16="http://schemas.microsoft.com/office/drawing/2014/main" id="{9624EC1E-0853-4C25-9CD8-5D74E5EDF395}"/>
              </a:ext>
            </a:extLst>
          </p:cNvPr>
          <p:cNvSpPr/>
          <p:nvPr/>
        </p:nvSpPr>
        <p:spPr>
          <a:xfrm>
            <a:off x="482886" y="306806"/>
            <a:ext cx="2619910" cy="5870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Statistics</a:t>
            </a:r>
          </a:p>
        </p:txBody>
      </p:sp>
      <p:sp>
        <p:nvSpPr>
          <p:cNvPr id="12" name="Rectangle: Rounded Corners 11">
            <a:extLst>
              <a:ext uri="{FF2B5EF4-FFF2-40B4-BE49-F238E27FC236}">
                <a16:creationId xmlns:a16="http://schemas.microsoft.com/office/drawing/2014/main" id="{CFC29170-3A52-4524-A8AA-ED88F15902F3}"/>
              </a:ext>
            </a:extLst>
          </p:cNvPr>
          <p:cNvSpPr/>
          <p:nvPr/>
        </p:nvSpPr>
        <p:spPr>
          <a:xfrm>
            <a:off x="482886" y="2938139"/>
            <a:ext cx="2619910" cy="62699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Statistical Model</a:t>
            </a:r>
          </a:p>
        </p:txBody>
      </p:sp>
      <p:sp>
        <p:nvSpPr>
          <p:cNvPr id="14" name="TextBox 13">
            <a:extLst>
              <a:ext uri="{FF2B5EF4-FFF2-40B4-BE49-F238E27FC236}">
                <a16:creationId xmlns:a16="http://schemas.microsoft.com/office/drawing/2014/main" id="{8D7F12DF-463C-4808-91EC-7DB40C7D8B5E}"/>
              </a:ext>
            </a:extLst>
          </p:cNvPr>
          <p:cNvSpPr txBox="1"/>
          <p:nvPr/>
        </p:nvSpPr>
        <p:spPr>
          <a:xfrm>
            <a:off x="357026" y="5373655"/>
            <a:ext cx="10194534" cy="369332"/>
          </a:xfrm>
          <a:prstGeom prst="rect">
            <a:avLst/>
          </a:prstGeom>
          <a:noFill/>
        </p:spPr>
        <p:txBody>
          <a:bodyPr wrap="square">
            <a:spAutoFit/>
          </a:bodyPr>
          <a:lstStyle/>
          <a:p>
            <a:pPr marL="0" marR="0">
              <a:spcBef>
                <a:spcPts val="0"/>
              </a:spcBef>
              <a:spcAft>
                <a:spcPts val="0"/>
              </a:spcAft>
            </a:pPr>
            <a:r>
              <a:rPr lang="en-US" b="1" dirty="0">
                <a:cs typeface="Arial" panose="020B0604020202020204" pitchFamily="34" charset="0"/>
              </a:rPr>
              <a:t>Q - Find out the relationship between Revenue and Marketing Expenditure?</a:t>
            </a:r>
            <a:r>
              <a:rPr lang="en-US" b="1" i="1" dirty="0">
                <a:cs typeface="Arial" panose="020B0604020202020204" pitchFamily="34" charset="0"/>
              </a:rPr>
              <a:t> </a:t>
            </a:r>
          </a:p>
        </p:txBody>
      </p:sp>
    </p:spTree>
    <p:extLst>
      <p:ext uri="{BB962C8B-B14F-4D97-AF65-F5344CB8AC3E}">
        <p14:creationId xmlns:p14="http://schemas.microsoft.com/office/powerpoint/2010/main" val="19096484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46268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dirty="0">
                <a:latin typeface="+mn-lt"/>
                <a:cs typeface="Arial" panose="020B0604020202020204" pitchFamily="34" charset="0"/>
              </a:rPr>
              <a:t>What</a:t>
            </a:r>
            <a:r>
              <a:rPr lang="en-US" sz="4400" dirty="0">
                <a:latin typeface="+mn-lt"/>
                <a:cs typeface="Arial" panose="020B0604020202020204" pitchFamily="34" charset="0"/>
              </a:rPr>
              <a:t> is Machine Learning?</a:t>
            </a:r>
            <a:endParaRPr lang="en-US" dirty="0">
              <a:latin typeface="+mn-lt"/>
            </a:endParaRPr>
          </a:p>
        </p:txBody>
      </p:sp>
      <p:sp>
        <p:nvSpPr>
          <p:cNvPr id="6" name="object 2">
            <a:extLst>
              <a:ext uri="{FF2B5EF4-FFF2-40B4-BE49-F238E27FC236}">
                <a16:creationId xmlns:a16="http://schemas.microsoft.com/office/drawing/2014/main" id="{26493C97-1FDA-41FD-BC40-600C2F43EDE6}"/>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7" name="Picture 6">
            <a:extLst>
              <a:ext uri="{FF2B5EF4-FFF2-40B4-BE49-F238E27FC236}">
                <a16:creationId xmlns:a16="http://schemas.microsoft.com/office/drawing/2014/main" id="{73E646FE-B82B-4EF9-BA10-C1DBE7C8D081}"/>
              </a:ext>
            </a:extLst>
          </p:cNvPr>
          <p:cNvPicPr>
            <a:picLocks noChangeAspect="1"/>
          </p:cNvPicPr>
          <p:nvPr/>
        </p:nvPicPr>
        <p:blipFill>
          <a:blip r:embed="rId6"/>
          <a:stretch>
            <a:fillRect/>
          </a:stretch>
        </p:blipFill>
        <p:spPr>
          <a:xfrm>
            <a:off x="10633" y="167339"/>
            <a:ext cx="3547426" cy="1895571"/>
          </a:xfrm>
          <a:prstGeom prst="rect">
            <a:avLst/>
          </a:prstGeom>
        </p:spPr>
      </p:pic>
    </p:spTree>
    <p:extLst>
      <p:ext uri="{BB962C8B-B14F-4D97-AF65-F5344CB8AC3E}">
        <p14:creationId xmlns:p14="http://schemas.microsoft.com/office/powerpoint/2010/main" val="297462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D6795D-6532-4037-96B7-F4EB73150FE1}"/>
              </a:ext>
            </a:extLst>
          </p:cNvPr>
          <p:cNvGraphicFramePr>
            <a:graphicFrameLocks noChangeAspect="1"/>
          </p:cNvGraphicFramePr>
          <p:nvPr>
            <p:custDataLst>
              <p:tags r:id="rId1"/>
            </p:custDataLst>
            <p:extLst>
              <p:ext uri="{D42A27DB-BD31-4B8C-83A1-F6EECF244321}">
                <p14:modId xmlns:p14="http://schemas.microsoft.com/office/powerpoint/2010/main" val="2261382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2D6795D-6532-4037-96B7-F4EB73150F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object 2">
            <a:extLst>
              <a:ext uri="{FF2B5EF4-FFF2-40B4-BE49-F238E27FC236}">
                <a16:creationId xmlns:a16="http://schemas.microsoft.com/office/drawing/2014/main" id="{59A86620-BB5B-450B-A208-D16524902DD6}"/>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sp>
        <p:nvSpPr>
          <p:cNvPr id="6" name="Rectangle: Rounded Corners 5">
            <a:extLst>
              <a:ext uri="{FF2B5EF4-FFF2-40B4-BE49-F238E27FC236}">
                <a16:creationId xmlns:a16="http://schemas.microsoft.com/office/drawing/2014/main" id="{48B0385B-23B0-480E-A59B-955290ED2AB0}"/>
              </a:ext>
            </a:extLst>
          </p:cNvPr>
          <p:cNvSpPr/>
          <p:nvPr/>
        </p:nvSpPr>
        <p:spPr>
          <a:xfrm>
            <a:off x="219182" y="708917"/>
            <a:ext cx="5856860" cy="537338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0" i="0" dirty="0">
                <a:solidFill>
                  <a:srgbClr val="333333"/>
                </a:solidFill>
                <a:effectLst/>
              </a:rPr>
              <a:t>Machine learning is a growing technology which enables computers to learn automatically from past data. Machine learning uses various algorithms for </a:t>
            </a:r>
            <a:r>
              <a:rPr lang="en-US" b="1" i="0" dirty="0">
                <a:solidFill>
                  <a:srgbClr val="333333"/>
                </a:solidFill>
                <a:effectLst/>
              </a:rPr>
              <a:t>building mathematical models and making predictions using historical data or information</a:t>
            </a:r>
            <a:r>
              <a:rPr lang="en-US" b="0" i="0" dirty="0">
                <a:solidFill>
                  <a:srgbClr val="333333"/>
                </a:solidFill>
                <a:effectLst/>
              </a:rPr>
              <a:t>. </a:t>
            </a:r>
          </a:p>
          <a:p>
            <a:endParaRPr lang="en-US" dirty="0">
              <a:solidFill>
                <a:srgbClr val="333333"/>
              </a:solidFill>
            </a:endParaRPr>
          </a:p>
          <a:p>
            <a:r>
              <a:rPr lang="en-US" b="0" i="0" dirty="0">
                <a:solidFill>
                  <a:srgbClr val="333333"/>
                </a:solidFill>
                <a:effectLst/>
              </a:rPr>
              <a:t>Currently, it is being used for various tasks such as </a:t>
            </a:r>
            <a:r>
              <a:rPr lang="en-US" b="1" i="0" dirty="0">
                <a:solidFill>
                  <a:srgbClr val="333333"/>
                </a:solidFill>
                <a:effectLst/>
              </a:rPr>
              <a:t>image recognition</a:t>
            </a:r>
            <a:r>
              <a:rPr lang="en-US" b="0" i="0" dirty="0">
                <a:solidFill>
                  <a:srgbClr val="333333"/>
                </a:solidFill>
                <a:effectLst/>
              </a:rPr>
              <a:t>, </a:t>
            </a:r>
            <a:r>
              <a:rPr lang="en-US" b="1" i="0" dirty="0">
                <a:solidFill>
                  <a:srgbClr val="333333"/>
                </a:solidFill>
                <a:effectLst/>
              </a:rPr>
              <a:t>speech recognition</a:t>
            </a:r>
            <a:r>
              <a:rPr lang="en-US" b="0" i="0" dirty="0">
                <a:solidFill>
                  <a:srgbClr val="333333"/>
                </a:solidFill>
                <a:effectLst/>
              </a:rPr>
              <a:t>, </a:t>
            </a:r>
            <a:r>
              <a:rPr lang="en-US" b="1" i="0" dirty="0">
                <a:solidFill>
                  <a:srgbClr val="333333"/>
                </a:solidFill>
                <a:effectLst/>
              </a:rPr>
              <a:t>email filtering</a:t>
            </a:r>
            <a:r>
              <a:rPr lang="en-US" b="0" i="0" dirty="0">
                <a:solidFill>
                  <a:srgbClr val="333333"/>
                </a:solidFill>
                <a:effectLst/>
              </a:rPr>
              <a:t>, </a:t>
            </a:r>
            <a:r>
              <a:rPr lang="en-US" b="1" i="0" dirty="0">
                <a:solidFill>
                  <a:srgbClr val="333333"/>
                </a:solidFill>
                <a:effectLst/>
              </a:rPr>
              <a:t>Facebook auto-tagging</a:t>
            </a:r>
            <a:r>
              <a:rPr lang="en-US" b="0" i="0" dirty="0">
                <a:solidFill>
                  <a:srgbClr val="333333"/>
                </a:solidFill>
                <a:effectLst/>
              </a:rPr>
              <a:t>, </a:t>
            </a:r>
            <a:r>
              <a:rPr lang="en-US" b="1" i="0" dirty="0">
                <a:solidFill>
                  <a:srgbClr val="333333"/>
                </a:solidFill>
                <a:effectLst/>
              </a:rPr>
              <a:t>recommender system</a:t>
            </a:r>
            <a:r>
              <a:rPr lang="en-US" b="0" i="0" dirty="0">
                <a:solidFill>
                  <a:srgbClr val="333333"/>
                </a:solidFill>
                <a:effectLst/>
              </a:rPr>
              <a:t>, and many more. </a:t>
            </a:r>
          </a:p>
          <a:p>
            <a:endParaRPr lang="en-US" sz="1800" dirty="0">
              <a:effectLst/>
            </a:endParaRPr>
          </a:p>
          <a:p>
            <a:endParaRPr lang="en-US" b="0" i="0" dirty="0">
              <a:solidFill>
                <a:srgbClr val="333333"/>
              </a:solidFill>
              <a:cs typeface="Arial" panose="020B0604020202020204" pitchFamily="34" charset="0"/>
            </a:endParaRPr>
          </a:p>
        </p:txBody>
      </p:sp>
      <p:sp>
        <p:nvSpPr>
          <p:cNvPr id="7" name="Rectangle: Rounded Corners 6">
            <a:extLst>
              <a:ext uri="{FF2B5EF4-FFF2-40B4-BE49-F238E27FC236}">
                <a16:creationId xmlns:a16="http://schemas.microsoft.com/office/drawing/2014/main" id="{720BE876-F298-4188-9E09-AA2FC69C9204}"/>
              </a:ext>
            </a:extLst>
          </p:cNvPr>
          <p:cNvSpPr/>
          <p:nvPr/>
        </p:nvSpPr>
        <p:spPr>
          <a:xfrm>
            <a:off x="821933" y="275982"/>
            <a:ext cx="2619910" cy="5870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Machine Learning</a:t>
            </a:r>
          </a:p>
        </p:txBody>
      </p:sp>
      <p:pic>
        <p:nvPicPr>
          <p:cNvPr id="10" name="Picture 9">
            <a:extLst>
              <a:ext uri="{FF2B5EF4-FFF2-40B4-BE49-F238E27FC236}">
                <a16:creationId xmlns:a16="http://schemas.microsoft.com/office/drawing/2014/main" id="{56AA3E3E-3B71-4F61-9B19-9C95368876F1}"/>
              </a:ext>
            </a:extLst>
          </p:cNvPr>
          <p:cNvPicPr>
            <a:picLocks noChangeAspect="1"/>
          </p:cNvPicPr>
          <p:nvPr/>
        </p:nvPicPr>
        <p:blipFill>
          <a:blip r:embed="rId6"/>
          <a:stretch>
            <a:fillRect/>
          </a:stretch>
        </p:blipFill>
        <p:spPr>
          <a:xfrm>
            <a:off x="5701165" y="873303"/>
            <a:ext cx="6400684" cy="5044611"/>
          </a:xfrm>
          <a:prstGeom prst="rect">
            <a:avLst/>
          </a:prstGeom>
          <a:effectLst>
            <a:softEdge rad="127000"/>
          </a:effectLst>
        </p:spPr>
      </p:pic>
    </p:spTree>
    <p:extLst>
      <p:ext uri="{BB962C8B-B14F-4D97-AF65-F5344CB8AC3E}">
        <p14:creationId xmlns:p14="http://schemas.microsoft.com/office/powerpoint/2010/main" val="3018282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141428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sz="4400" dirty="0">
                <a:latin typeface="+mn-lt"/>
                <a:cs typeface="Arial" panose="020B0604020202020204" pitchFamily="34" charset="0"/>
              </a:rPr>
              <a:t>How &amp; Why </a:t>
            </a:r>
            <a:r>
              <a:rPr lang="en-US" sz="3200" dirty="0">
                <a:latin typeface="+mn-lt"/>
                <a:cs typeface="Arial" panose="020B0604020202020204" pitchFamily="34" charset="0"/>
              </a:rPr>
              <a:t>of</a:t>
            </a:r>
            <a:r>
              <a:rPr lang="en-US" sz="4400" dirty="0">
                <a:latin typeface="+mn-lt"/>
                <a:cs typeface="Arial" panose="020B0604020202020204" pitchFamily="34" charset="0"/>
              </a:rPr>
              <a:t> Machine Learning?</a:t>
            </a:r>
            <a:endParaRPr lang="en-US" dirty="0">
              <a:latin typeface="+mn-lt"/>
            </a:endParaRPr>
          </a:p>
        </p:txBody>
      </p:sp>
      <p:sp>
        <p:nvSpPr>
          <p:cNvPr id="11" name="object 2">
            <a:extLst>
              <a:ext uri="{FF2B5EF4-FFF2-40B4-BE49-F238E27FC236}">
                <a16:creationId xmlns:a16="http://schemas.microsoft.com/office/drawing/2014/main" id="{589364FD-F913-4B1A-8CD9-5E3514A190DC}"/>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12" name="Picture 11">
            <a:extLst>
              <a:ext uri="{FF2B5EF4-FFF2-40B4-BE49-F238E27FC236}">
                <a16:creationId xmlns:a16="http://schemas.microsoft.com/office/drawing/2014/main" id="{74467FB5-0DEC-4672-8521-67B3C59F5D9E}"/>
              </a:ext>
            </a:extLst>
          </p:cNvPr>
          <p:cNvPicPr>
            <a:picLocks noChangeAspect="1"/>
          </p:cNvPicPr>
          <p:nvPr/>
        </p:nvPicPr>
        <p:blipFill>
          <a:blip r:embed="rId6"/>
          <a:stretch>
            <a:fillRect/>
          </a:stretch>
        </p:blipFill>
        <p:spPr>
          <a:xfrm>
            <a:off x="10633" y="114175"/>
            <a:ext cx="3547426" cy="1895571"/>
          </a:xfrm>
          <a:prstGeom prst="rect">
            <a:avLst/>
          </a:prstGeom>
        </p:spPr>
      </p:pic>
    </p:spTree>
    <p:extLst>
      <p:ext uri="{BB962C8B-B14F-4D97-AF65-F5344CB8AC3E}">
        <p14:creationId xmlns:p14="http://schemas.microsoft.com/office/powerpoint/2010/main" val="2977022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4AC2A5-BD21-4820-B5D5-FC77D296017A}"/>
              </a:ext>
            </a:extLst>
          </p:cNvPr>
          <p:cNvGraphicFramePr>
            <a:graphicFrameLocks noChangeAspect="1"/>
          </p:cNvGraphicFramePr>
          <p:nvPr>
            <p:custDataLst>
              <p:tags r:id="rId1"/>
            </p:custDataLst>
            <p:extLst>
              <p:ext uri="{D42A27DB-BD31-4B8C-83A1-F6EECF244321}">
                <p14:modId xmlns:p14="http://schemas.microsoft.com/office/powerpoint/2010/main" val="330427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484AC2A5-BD21-4820-B5D5-FC77D29601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object 2">
            <a:extLst>
              <a:ext uri="{FF2B5EF4-FFF2-40B4-BE49-F238E27FC236}">
                <a16:creationId xmlns:a16="http://schemas.microsoft.com/office/drawing/2014/main" id="{625EAA2F-6B04-4146-9149-A8F4D84AC889}"/>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23" name="Picture 22">
            <a:extLst>
              <a:ext uri="{FF2B5EF4-FFF2-40B4-BE49-F238E27FC236}">
                <a16:creationId xmlns:a16="http://schemas.microsoft.com/office/drawing/2014/main" id="{88281374-6176-42BA-9DFC-3080102908AE}"/>
              </a:ext>
            </a:extLst>
          </p:cNvPr>
          <p:cNvPicPr>
            <a:picLocks noChangeAspect="1"/>
          </p:cNvPicPr>
          <p:nvPr/>
        </p:nvPicPr>
        <p:blipFill>
          <a:blip r:embed="rId6"/>
          <a:stretch>
            <a:fillRect/>
          </a:stretch>
        </p:blipFill>
        <p:spPr>
          <a:xfrm>
            <a:off x="10633" y="114175"/>
            <a:ext cx="3547426" cy="1895571"/>
          </a:xfrm>
          <a:prstGeom prst="rect">
            <a:avLst/>
          </a:prstGeom>
        </p:spPr>
      </p:pic>
      <p:pic>
        <p:nvPicPr>
          <p:cNvPr id="7184" name="Picture 16" descr="Introduction to Machine Learning">
            <a:extLst>
              <a:ext uri="{FF2B5EF4-FFF2-40B4-BE49-F238E27FC236}">
                <a16:creationId xmlns:a16="http://schemas.microsoft.com/office/drawing/2014/main" id="{0CB8CD9E-E20D-4182-91D0-114B2EFC38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6518" y="2220137"/>
            <a:ext cx="7869864" cy="19422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CD12C5D-4C7B-4A32-8A79-F77FE47102E3}"/>
              </a:ext>
            </a:extLst>
          </p:cNvPr>
          <p:cNvSpPr>
            <a:spLocks noGrp="1"/>
          </p:cNvSpPr>
          <p:nvPr>
            <p:ph type="title"/>
          </p:nvPr>
        </p:nvSpPr>
        <p:spPr>
          <a:xfrm>
            <a:off x="0" y="203681"/>
            <a:ext cx="10515600" cy="477356"/>
          </a:xfrm>
          <a:solidFill>
            <a:schemeClr val="bg1"/>
          </a:solidFill>
        </p:spPr>
        <p:txBody>
          <a:bodyPr vert="horz">
            <a:normAutofit/>
          </a:bodyPr>
          <a:lstStyle/>
          <a:p>
            <a:r>
              <a:rPr lang="en-US" sz="1800" b="1" dirty="0">
                <a:latin typeface="+mn-lt"/>
              </a:rPr>
              <a:t>How does Machine Learning work?</a:t>
            </a:r>
          </a:p>
        </p:txBody>
      </p:sp>
      <p:sp>
        <p:nvSpPr>
          <p:cNvPr id="3" name="Content Placeholder 2">
            <a:extLst>
              <a:ext uri="{FF2B5EF4-FFF2-40B4-BE49-F238E27FC236}">
                <a16:creationId xmlns:a16="http://schemas.microsoft.com/office/drawing/2014/main" id="{7248B268-2DEA-4902-98DB-9EDF09356408}"/>
              </a:ext>
            </a:extLst>
          </p:cNvPr>
          <p:cNvSpPr>
            <a:spLocks noGrp="1"/>
          </p:cNvSpPr>
          <p:nvPr>
            <p:ph idx="1"/>
          </p:nvPr>
        </p:nvSpPr>
        <p:spPr>
          <a:xfrm>
            <a:off x="10633" y="543775"/>
            <a:ext cx="12170734" cy="1969400"/>
          </a:xfrm>
          <a:solidFill>
            <a:schemeClr val="bg1"/>
          </a:solidFill>
        </p:spPr>
        <p:txBody>
          <a:bodyPr>
            <a:normAutofit/>
          </a:bodyPr>
          <a:lstStyle/>
          <a:p>
            <a:pPr marL="0" marR="0" indent="0">
              <a:spcBef>
                <a:spcPts val="0"/>
              </a:spcBef>
              <a:spcAft>
                <a:spcPts val="0"/>
              </a:spcAft>
              <a:buNone/>
            </a:pPr>
            <a:r>
              <a:rPr lang="en-US" sz="1800" b="0" i="0" dirty="0">
                <a:solidFill>
                  <a:srgbClr val="333333"/>
                </a:solidFill>
                <a:effectLst/>
              </a:rPr>
              <a:t>A Machine Learning system </a:t>
            </a:r>
            <a:r>
              <a:rPr lang="en-US" sz="1800" b="1" i="0" dirty="0">
                <a:solidFill>
                  <a:srgbClr val="333333"/>
                </a:solidFill>
                <a:effectLst/>
              </a:rPr>
              <a:t>learns from historical data, builds the prediction models, and whenever it receives new data, predicts the output for it</a:t>
            </a:r>
            <a:r>
              <a:rPr lang="en-US" sz="1800" b="0" i="0" dirty="0">
                <a:solidFill>
                  <a:srgbClr val="333333"/>
                </a:solidFill>
                <a:effectLst/>
              </a:rPr>
              <a:t>. The accuracy of predicted output depends upon the amount of data, as the huge amount of data helps to build a better model which predicts the output more accurately.</a:t>
            </a:r>
          </a:p>
          <a:p>
            <a:pPr marL="0" marR="0" indent="0">
              <a:spcBef>
                <a:spcPts val="0"/>
              </a:spcBef>
              <a:spcAft>
                <a:spcPts val="0"/>
              </a:spcAft>
              <a:buNone/>
            </a:pPr>
            <a:r>
              <a:rPr lang="en-US" sz="1800" b="0" i="0" dirty="0">
                <a:solidFill>
                  <a:srgbClr val="333333"/>
                </a:solidFill>
                <a:effectLst/>
              </a:rPr>
              <a:t>Suppose we have a complex problem, where we need to perform some predictions, so instead of writing a code for it, we just need to feed the data to generic algorithms, and with the help of these algorithms, machine builds the logic as per the data and predict the output. Machine learning has changed our way of thinking about the problem. The below block diagram explains the working of Machine Learning algorithm:</a:t>
            </a:r>
          </a:p>
          <a:p>
            <a:pPr marL="0" marR="0" indent="0">
              <a:spcBef>
                <a:spcPts val="0"/>
              </a:spcBef>
              <a:spcAft>
                <a:spcPts val="0"/>
              </a:spcAft>
              <a:buNone/>
            </a:pPr>
            <a:endParaRPr lang="en-US" sz="1800" dirty="0"/>
          </a:p>
          <a:p>
            <a:pPr marL="0" marR="0" indent="0">
              <a:spcBef>
                <a:spcPts val="0"/>
              </a:spcBef>
              <a:spcAft>
                <a:spcPts val="0"/>
              </a:spcAft>
              <a:buNone/>
            </a:pPr>
            <a:endParaRPr lang="en-US" sz="1800" dirty="0"/>
          </a:p>
          <a:p>
            <a:pPr marL="0" marR="0" indent="0">
              <a:spcBef>
                <a:spcPts val="0"/>
              </a:spcBef>
              <a:spcAft>
                <a:spcPts val="0"/>
              </a:spcAft>
              <a:buNone/>
            </a:pPr>
            <a:endParaRPr lang="en-US" sz="1800" dirty="0"/>
          </a:p>
        </p:txBody>
      </p:sp>
      <p:sp>
        <p:nvSpPr>
          <p:cNvPr id="9" name="TextBox 8">
            <a:extLst>
              <a:ext uri="{FF2B5EF4-FFF2-40B4-BE49-F238E27FC236}">
                <a16:creationId xmlns:a16="http://schemas.microsoft.com/office/drawing/2014/main" id="{3C03A1CA-F79B-4D53-98AA-23BB93BB3E4E}"/>
              </a:ext>
            </a:extLst>
          </p:cNvPr>
          <p:cNvSpPr txBox="1"/>
          <p:nvPr/>
        </p:nvSpPr>
        <p:spPr>
          <a:xfrm>
            <a:off x="160106" y="4052275"/>
            <a:ext cx="11871788" cy="2970044"/>
          </a:xfrm>
          <a:prstGeom prst="rect">
            <a:avLst/>
          </a:prstGeom>
          <a:noFill/>
        </p:spPr>
        <p:txBody>
          <a:bodyPr wrap="square" rtlCol="0">
            <a:spAutoFit/>
          </a:bodyPr>
          <a:lstStyle/>
          <a:p>
            <a:pPr>
              <a:lnSpc>
                <a:spcPct val="90000"/>
              </a:lnSpc>
              <a:spcAft>
                <a:spcPts val="600"/>
              </a:spcAft>
            </a:pPr>
            <a:r>
              <a:rPr lang="en-US" b="1" dirty="0">
                <a:solidFill>
                  <a:srgbClr val="111111"/>
                </a:solidFill>
                <a:effectLst/>
              </a:rPr>
              <a:t>Why do we need Machine Learning?</a:t>
            </a:r>
          </a:p>
          <a:p>
            <a:pPr marL="342900" indent="-342900">
              <a:lnSpc>
                <a:spcPct val="90000"/>
              </a:lnSpc>
              <a:spcAft>
                <a:spcPts val="600"/>
              </a:spcAft>
              <a:buFont typeface="Arial" panose="020B0604020202020204" pitchFamily="34" charset="0"/>
              <a:buChar char="•"/>
            </a:pPr>
            <a:r>
              <a:rPr lang="en-US" b="0" i="0" dirty="0">
                <a:solidFill>
                  <a:srgbClr val="333333"/>
                </a:solidFill>
                <a:effectLst/>
              </a:rPr>
              <a:t>Capable of doing tasks that are too complex for a person to implement directly</a:t>
            </a:r>
          </a:p>
          <a:p>
            <a:pPr marL="342900" indent="-342900">
              <a:lnSpc>
                <a:spcPct val="90000"/>
              </a:lnSpc>
              <a:spcAft>
                <a:spcPts val="600"/>
              </a:spcAft>
              <a:buFont typeface="Arial" panose="020B0604020202020204" pitchFamily="34" charset="0"/>
              <a:buChar char="•"/>
            </a:pPr>
            <a:r>
              <a:rPr lang="en-US" b="0" i="0" dirty="0">
                <a:solidFill>
                  <a:srgbClr val="333333"/>
                </a:solidFill>
                <a:effectLst/>
              </a:rPr>
              <a:t>We can train machine learning algorithms by providing them the huge amount of data and let them explore the data, construct the models, and predict the required output automatically. </a:t>
            </a:r>
          </a:p>
          <a:p>
            <a:pPr marL="342900" indent="-342900">
              <a:lnSpc>
                <a:spcPct val="90000"/>
              </a:lnSpc>
              <a:spcAft>
                <a:spcPts val="600"/>
              </a:spcAft>
              <a:buFont typeface="Arial" panose="020B0604020202020204" pitchFamily="34" charset="0"/>
              <a:buChar char="•"/>
            </a:pPr>
            <a:r>
              <a:rPr lang="en-US" dirty="0">
                <a:solidFill>
                  <a:srgbClr val="333333"/>
                </a:solidFill>
              </a:rPr>
              <a:t>Saves</a:t>
            </a:r>
            <a:r>
              <a:rPr lang="en-US" b="0" i="0" dirty="0">
                <a:solidFill>
                  <a:srgbClr val="333333"/>
                </a:solidFill>
                <a:effectLst/>
              </a:rPr>
              <a:t> both time and money</a:t>
            </a:r>
          </a:p>
          <a:p>
            <a:pPr>
              <a:lnSpc>
                <a:spcPct val="90000"/>
              </a:lnSpc>
              <a:spcAft>
                <a:spcPts val="600"/>
              </a:spcAft>
            </a:pPr>
            <a:r>
              <a:rPr lang="en-US" b="0" i="0" dirty="0">
                <a:solidFill>
                  <a:srgbClr val="333333"/>
                </a:solidFill>
                <a:effectLst/>
              </a:rPr>
              <a:t>The importance of machine learning can be easily understood </a:t>
            </a:r>
            <a:r>
              <a:rPr lang="en-US" dirty="0">
                <a:solidFill>
                  <a:srgbClr val="333333"/>
                </a:solidFill>
              </a:rPr>
              <a:t>b</a:t>
            </a:r>
            <a:r>
              <a:rPr lang="en-US" b="0" i="0" dirty="0">
                <a:solidFill>
                  <a:srgbClr val="333333"/>
                </a:solidFill>
                <a:effectLst/>
              </a:rPr>
              <a:t>y its use cases, Currently, machine learning is used in </a:t>
            </a:r>
            <a:r>
              <a:rPr lang="en-US" b="1" i="0" dirty="0">
                <a:solidFill>
                  <a:srgbClr val="333333"/>
                </a:solidFill>
                <a:effectLst/>
              </a:rPr>
              <a:t>self-driving cars</a:t>
            </a:r>
            <a:r>
              <a:rPr lang="en-US" b="0" i="0" dirty="0">
                <a:solidFill>
                  <a:srgbClr val="333333"/>
                </a:solidFill>
                <a:effectLst/>
              </a:rPr>
              <a:t>, </a:t>
            </a:r>
            <a:r>
              <a:rPr lang="en-US" b="1" i="0" dirty="0">
                <a:solidFill>
                  <a:srgbClr val="333333"/>
                </a:solidFill>
                <a:effectLst/>
              </a:rPr>
              <a:t>cyber fraud detection</a:t>
            </a:r>
            <a:r>
              <a:rPr lang="en-US" b="0" i="0" dirty="0">
                <a:solidFill>
                  <a:srgbClr val="333333"/>
                </a:solidFill>
                <a:effectLst/>
              </a:rPr>
              <a:t>, </a:t>
            </a:r>
            <a:r>
              <a:rPr lang="en-US" b="1" i="0" dirty="0">
                <a:solidFill>
                  <a:srgbClr val="333333"/>
                </a:solidFill>
                <a:effectLst/>
              </a:rPr>
              <a:t>face recognition</a:t>
            </a:r>
            <a:r>
              <a:rPr lang="en-US" b="0" i="0" dirty="0">
                <a:solidFill>
                  <a:srgbClr val="333333"/>
                </a:solidFill>
                <a:effectLst/>
              </a:rPr>
              <a:t>, </a:t>
            </a:r>
            <a:r>
              <a:rPr lang="en-US" b="1" i="0" dirty="0">
                <a:solidFill>
                  <a:srgbClr val="333333"/>
                </a:solidFill>
                <a:effectLst/>
              </a:rPr>
              <a:t>friend suggestion by Facebook</a:t>
            </a:r>
            <a:r>
              <a:rPr lang="en-US" b="0" i="0" dirty="0">
                <a:solidFill>
                  <a:srgbClr val="333333"/>
                </a:solidFill>
                <a:effectLst/>
              </a:rPr>
              <a:t>, etc. Various top companies such as Netflix and Amazon have build machine learning models that are using a vast amount of data to analyze the user interest and recommend product accordingly.</a:t>
            </a:r>
            <a:endParaRPr lang="en-US" b="1" dirty="0">
              <a:solidFill>
                <a:srgbClr val="111111"/>
              </a:solidFill>
            </a:endParaRPr>
          </a:p>
          <a:p>
            <a:pPr>
              <a:lnSpc>
                <a:spcPct val="90000"/>
              </a:lnSpc>
              <a:spcAft>
                <a:spcPts val="600"/>
              </a:spcAft>
            </a:pPr>
            <a:endParaRPr lang="en-US" dirty="0"/>
          </a:p>
        </p:txBody>
      </p:sp>
    </p:spTree>
    <p:extLst>
      <p:ext uri="{BB962C8B-B14F-4D97-AF65-F5344CB8AC3E}">
        <p14:creationId xmlns:p14="http://schemas.microsoft.com/office/powerpoint/2010/main" val="3337781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937A40-9A60-44A0-99AB-E937F0E69C60}"/>
              </a:ext>
            </a:extLst>
          </p:cNvPr>
          <p:cNvGraphicFramePr>
            <a:graphicFrameLocks noChangeAspect="1"/>
          </p:cNvGraphicFramePr>
          <p:nvPr>
            <p:custDataLst>
              <p:tags r:id="rId1"/>
            </p:custDataLst>
            <p:extLst>
              <p:ext uri="{D42A27DB-BD31-4B8C-83A1-F6EECF244321}">
                <p14:modId xmlns:p14="http://schemas.microsoft.com/office/powerpoint/2010/main" val="320249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6937A40-9A60-44A0-99AB-E937F0E69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D09E52-FD9C-4380-A16A-371C50ABA430}"/>
              </a:ext>
            </a:extLst>
          </p:cNvPr>
          <p:cNvSpPr>
            <a:spLocks noGrp="1"/>
          </p:cNvSpPr>
          <p:nvPr>
            <p:ph type="title"/>
          </p:nvPr>
        </p:nvSpPr>
        <p:spPr>
          <a:xfrm>
            <a:off x="951216" y="2286392"/>
            <a:ext cx="10515600" cy="1325563"/>
          </a:xfrm>
        </p:spPr>
        <p:txBody>
          <a:bodyPr vert="horz"/>
          <a:lstStyle/>
          <a:p>
            <a:r>
              <a:rPr lang="en-US" sz="4400" dirty="0">
                <a:latin typeface="Arial" panose="020B0604020202020204" pitchFamily="34" charset="0"/>
                <a:cs typeface="Arial" panose="020B0604020202020204" pitchFamily="34" charset="0"/>
              </a:rPr>
              <a:t>Overlap between Statistics &amp; ML </a:t>
            </a:r>
            <a:endParaRPr lang="en-US" dirty="0"/>
          </a:p>
        </p:txBody>
      </p:sp>
      <p:sp>
        <p:nvSpPr>
          <p:cNvPr id="4" name="object 2">
            <a:extLst>
              <a:ext uri="{FF2B5EF4-FFF2-40B4-BE49-F238E27FC236}">
                <a16:creationId xmlns:a16="http://schemas.microsoft.com/office/drawing/2014/main" id="{DD22C413-B357-46BF-84EE-961EFEC60F6F}"/>
              </a:ext>
            </a:extLst>
          </p:cNvPr>
          <p:cNvSpPr/>
          <p:nvPr/>
        </p:nvSpPr>
        <p:spPr>
          <a:xfrm>
            <a:off x="0" y="0"/>
            <a:ext cx="12191999" cy="2073349"/>
          </a:xfrm>
          <a:prstGeom prst="rect">
            <a:avLst/>
          </a:prstGeom>
          <a:blipFill>
            <a:blip r:embed="rId5" cstate="print"/>
            <a:stretch>
              <a:fillRect/>
            </a:stretch>
          </a:blipFill>
        </p:spPr>
        <p:txBody>
          <a:bodyPr wrap="square" lIns="0" tIns="0" rIns="0" bIns="0" rtlCol="0"/>
          <a:lstStyle/>
          <a:p>
            <a:endParaRPr/>
          </a:p>
        </p:txBody>
      </p:sp>
      <p:pic>
        <p:nvPicPr>
          <p:cNvPr id="6" name="Picture 5">
            <a:extLst>
              <a:ext uri="{FF2B5EF4-FFF2-40B4-BE49-F238E27FC236}">
                <a16:creationId xmlns:a16="http://schemas.microsoft.com/office/drawing/2014/main" id="{93C82BA2-F304-4F14-9222-4F782F664F90}"/>
              </a:ext>
            </a:extLst>
          </p:cNvPr>
          <p:cNvPicPr>
            <a:picLocks noChangeAspect="1"/>
          </p:cNvPicPr>
          <p:nvPr/>
        </p:nvPicPr>
        <p:blipFill>
          <a:blip r:embed="rId6"/>
          <a:stretch>
            <a:fillRect/>
          </a:stretch>
        </p:blipFill>
        <p:spPr>
          <a:xfrm>
            <a:off x="10633" y="114175"/>
            <a:ext cx="3547426" cy="1895571"/>
          </a:xfrm>
          <a:prstGeom prst="rect">
            <a:avLst/>
          </a:prstGeom>
        </p:spPr>
      </p:pic>
    </p:spTree>
    <p:extLst>
      <p:ext uri="{BB962C8B-B14F-4D97-AF65-F5344CB8AC3E}">
        <p14:creationId xmlns:p14="http://schemas.microsoft.com/office/powerpoint/2010/main" val="2335934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D6795D-6532-4037-96B7-F4EB73150FE1}"/>
              </a:ext>
            </a:extLst>
          </p:cNvPr>
          <p:cNvGraphicFramePr>
            <a:graphicFrameLocks noChangeAspect="1"/>
          </p:cNvGraphicFramePr>
          <p:nvPr>
            <p:custDataLst>
              <p:tags r:id="rId1"/>
            </p:custDataLst>
            <p:extLst>
              <p:ext uri="{D42A27DB-BD31-4B8C-83A1-F6EECF244321}">
                <p14:modId xmlns:p14="http://schemas.microsoft.com/office/powerpoint/2010/main" val="377918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A2D6795D-6532-4037-96B7-F4EB73150F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object 2">
            <a:extLst>
              <a:ext uri="{FF2B5EF4-FFF2-40B4-BE49-F238E27FC236}">
                <a16:creationId xmlns:a16="http://schemas.microsoft.com/office/drawing/2014/main" id="{5EA3CE7C-B379-46A4-9F86-802E4E593033}"/>
              </a:ext>
            </a:extLst>
          </p:cNvPr>
          <p:cNvSpPr/>
          <p:nvPr/>
        </p:nvSpPr>
        <p:spPr>
          <a:xfrm>
            <a:off x="0" y="0"/>
            <a:ext cx="12191999" cy="2073349"/>
          </a:xfrm>
          <a:prstGeom prst="rect">
            <a:avLst/>
          </a:prstGeom>
          <a:blipFill>
            <a:blip r:embed="rId6" cstate="print"/>
            <a:stretch>
              <a:fillRect/>
            </a:stretch>
          </a:blipFill>
        </p:spPr>
        <p:txBody>
          <a:bodyPr wrap="square" lIns="0" tIns="0" rIns="0" bIns="0" rtlCol="0"/>
          <a:lstStyle/>
          <a:p>
            <a:endParaRPr/>
          </a:p>
        </p:txBody>
      </p:sp>
      <p:graphicFrame>
        <p:nvGraphicFramePr>
          <p:cNvPr id="19" name="Table 4">
            <a:extLst>
              <a:ext uri="{FF2B5EF4-FFF2-40B4-BE49-F238E27FC236}">
                <a16:creationId xmlns:a16="http://schemas.microsoft.com/office/drawing/2014/main" id="{10C0E72D-2572-4A1A-B502-83D774EB2064}"/>
              </a:ext>
            </a:extLst>
          </p:cNvPr>
          <p:cNvGraphicFramePr>
            <a:graphicFrameLocks noGrp="1"/>
          </p:cNvGraphicFramePr>
          <p:nvPr>
            <p:extLst>
              <p:ext uri="{D42A27DB-BD31-4B8C-83A1-F6EECF244321}">
                <p14:modId xmlns:p14="http://schemas.microsoft.com/office/powerpoint/2010/main" val="566508406"/>
              </p:ext>
            </p:extLst>
          </p:nvPr>
        </p:nvGraphicFramePr>
        <p:xfrm>
          <a:off x="410966" y="1183019"/>
          <a:ext cx="5133654" cy="3851320"/>
        </p:xfrm>
        <a:graphic>
          <a:graphicData uri="http://schemas.openxmlformats.org/drawingml/2006/table">
            <a:tbl>
              <a:tblPr firstRow="1" bandRow="1">
                <a:effectLst>
                  <a:innerShdw blurRad="114300">
                    <a:prstClr val="black"/>
                  </a:innerShdw>
                </a:effectLst>
                <a:tableStyleId>{5C22544A-7EE6-4342-B048-85BDC9FD1C3A}</a:tableStyleId>
              </a:tblPr>
              <a:tblGrid>
                <a:gridCol w="2566827">
                  <a:extLst>
                    <a:ext uri="{9D8B030D-6E8A-4147-A177-3AD203B41FA5}">
                      <a16:colId xmlns:a16="http://schemas.microsoft.com/office/drawing/2014/main" val="4197492333"/>
                    </a:ext>
                  </a:extLst>
                </a:gridCol>
                <a:gridCol w="2566827">
                  <a:extLst>
                    <a:ext uri="{9D8B030D-6E8A-4147-A177-3AD203B41FA5}">
                      <a16:colId xmlns:a16="http://schemas.microsoft.com/office/drawing/2014/main" val="2185672763"/>
                    </a:ext>
                  </a:extLst>
                </a:gridCol>
              </a:tblGrid>
              <a:tr h="385132">
                <a:tc>
                  <a:txBody>
                    <a:bodyPr/>
                    <a:lstStyle/>
                    <a:p>
                      <a:pPr algn="ctr"/>
                      <a:r>
                        <a:rPr lang="en-US" sz="1600" dirty="0"/>
                        <a:t>Statistics</a:t>
                      </a:r>
                      <a:endParaRPr lang="en-US" sz="1600" dirty="0">
                        <a:latin typeface="+mn-lt"/>
                      </a:endParaRPr>
                    </a:p>
                  </a:txBody>
                  <a:tcPr anchor="ctr"/>
                </a:tc>
                <a:tc>
                  <a:txBody>
                    <a:bodyPr/>
                    <a:lstStyle/>
                    <a:p>
                      <a:pPr algn="ctr"/>
                      <a:r>
                        <a:rPr lang="en-US" sz="1600" dirty="0"/>
                        <a:t>Machine Learning</a:t>
                      </a:r>
                      <a:endParaRPr lang="en-US" sz="1600" dirty="0">
                        <a:latin typeface="+mn-lt"/>
                      </a:endParaRPr>
                    </a:p>
                  </a:txBody>
                  <a:tcPr anchor="ctr"/>
                </a:tc>
                <a:extLst>
                  <a:ext uri="{0D108BD9-81ED-4DB2-BD59-A6C34878D82A}">
                    <a16:rowId xmlns:a16="http://schemas.microsoft.com/office/drawing/2014/main" val="288449941"/>
                  </a:ext>
                </a:extLst>
              </a:tr>
              <a:tr h="385132">
                <a:tc>
                  <a:txBody>
                    <a:bodyPr/>
                    <a:lstStyle/>
                    <a:p>
                      <a:pPr algn="ctr" fontAlgn="b"/>
                      <a:r>
                        <a:rPr lang="en-US" sz="1600" b="0" u="none" strike="noStrike" dirty="0">
                          <a:solidFill>
                            <a:srgbClr val="000000"/>
                          </a:solidFill>
                          <a:effectLst/>
                        </a:rPr>
                        <a:t>Estimation/Fitting</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a:solidFill>
                            <a:srgbClr val="000000"/>
                          </a:solidFill>
                          <a:effectLst/>
                        </a:rPr>
                        <a:t>Learning</a:t>
                      </a:r>
                      <a:endParaRPr lang="en-US" sz="1600" b="0" i="0"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4200380821"/>
                  </a:ext>
                </a:extLst>
              </a:tr>
              <a:tr h="385132">
                <a:tc>
                  <a:txBody>
                    <a:bodyPr/>
                    <a:lstStyle/>
                    <a:p>
                      <a:pPr algn="ctr" fontAlgn="b"/>
                      <a:r>
                        <a:rPr lang="en-US" sz="1600" b="0" u="none" strike="noStrike" dirty="0">
                          <a:solidFill>
                            <a:srgbClr val="000000"/>
                          </a:solidFill>
                          <a:effectLst/>
                        </a:rPr>
                        <a:t>Classifier</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 Hypothesis</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4161498093"/>
                  </a:ext>
                </a:extLst>
              </a:tr>
              <a:tr h="385132">
                <a:tc>
                  <a:txBody>
                    <a:bodyPr/>
                    <a:lstStyle/>
                    <a:p>
                      <a:pPr algn="ctr" fontAlgn="b"/>
                      <a:r>
                        <a:rPr lang="en-US" sz="1600" b="0" u="none" strike="noStrike" dirty="0">
                          <a:solidFill>
                            <a:srgbClr val="000000"/>
                          </a:solidFill>
                          <a:effectLst/>
                        </a:rPr>
                        <a:t>Data</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point/ Example/Instance</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1020625244"/>
                  </a:ext>
                </a:extLst>
              </a:tr>
              <a:tr h="385132">
                <a:tc>
                  <a:txBody>
                    <a:bodyPr/>
                    <a:lstStyle/>
                    <a:p>
                      <a:pPr algn="ctr" fontAlgn="b"/>
                      <a:r>
                        <a:rPr lang="en-US" sz="1600" b="0" u="none" strike="noStrike">
                          <a:solidFill>
                            <a:srgbClr val="000000"/>
                          </a:solidFill>
                          <a:effectLst/>
                        </a:rPr>
                        <a:t>Regression</a:t>
                      </a:r>
                      <a:endParaRPr lang="en-US" sz="1600" b="0" i="0" u="none" strike="noStrike">
                        <a:solidFill>
                          <a:srgbClr val="000000"/>
                        </a:solidFill>
                        <a:effectLst/>
                        <a:latin typeface="+mn-lt"/>
                      </a:endParaRPr>
                    </a:p>
                  </a:txBody>
                  <a:tcPr marL="6350" marR="6350" marT="6350" marB="0" anchor="ctr"/>
                </a:tc>
                <a:tc>
                  <a:txBody>
                    <a:bodyPr/>
                    <a:lstStyle/>
                    <a:p>
                      <a:pPr algn="ctr" fontAlgn="b"/>
                      <a:r>
                        <a:rPr lang="en-US" sz="1600" b="0" u="none" strike="noStrike">
                          <a:solidFill>
                            <a:srgbClr val="000000"/>
                          </a:solidFill>
                          <a:effectLst/>
                        </a:rPr>
                        <a:t>Supervised Learning</a:t>
                      </a:r>
                      <a:endParaRPr lang="en-US" sz="1600" b="0" i="0"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3441101555"/>
                  </a:ext>
                </a:extLst>
              </a:tr>
              <a:tr h="385132">
                <a:tc>
                  <a:txBody>
                    <a:bodyPr/>
                    <a:lstStyle/>
                    <a:p>
                      <a:pPr algn="ctr" fontAlgn="b"/>
                      <a:r>
                        <a:rPr lang="en-US" sz="1600" b="0" u="none" strike="noStrike" dirty="0">
                          <a:solidFill>
                            <a:srgbClr val="000000"/>
                          </a:solidFill>
                          <a:effectLst/>
                        </a:rPr>
                        <a:t>Classification</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Supervised Learning</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2731366900"/>
                  </a:ext>
                </a:extLst>
              </a:tr>
              <a:tr h="385132">
                <a:tc>
                  <a:txBody>
                    <a:bodyPr/>
                    <a:lstStyle/>
                    <a:p>
                      <a:pPr algn="ctr" fontAlgn="b"/>
                      <a:r>
                        <a:rPr lang="en-US" sz="1600" b="0" u="none" strike="noStrike" dirty="0">
                          <a:solidFill>
                            <a:srgbClr val="000000"/>
                          </a:solidFill>
                          <a:effectLst/>
                        </a:rPr>
                        <a:t>Covariate/Variable</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 Feature</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3185035777"/>
                  </a:ext>
                </a:extLst>
              </a:tr>
              <a:tr h="385132">
                <a:tc>
                  <a:txBody>
                    <a:bodyPr/>
                    <a:lstStyle/>
                    <a:p>
                      <a:pPr algn="ctr" fontAlgn="b"/>
                      <a:r>
                        <a:rPr lang="en-US" sz="1600" b="0" u="none" strike="noStrike" dirty="0">
                          <a:solidFill>
                            <a:srgbClr val="000000"/>
                          </a:solidFill>
                          <a:effectLst/>
                        </a:rPr>
                        <a:t>Response/Y</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 Label/Target</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1797021880"/>
                  </a:ext>
                </a:extLst>
              </a:tr>
              <a:tr h="385132">
                <a:tc>
                  <a:txBody>
                    <a:bodyPr/>
                    <a:lstStyle/>
                    <a:p>
                      <a:pPr algn="ctr" fontAlgn="b"/>
                      <a:r>
                        <a:rPr lang="en-US" sz="1600" b="0" u="none" strike="noStrike" dirty="0">
                          <a:solidFill>
                            <a:srgbClr val="000000"/>
                          </a:solidFill>
                          <a:effectLst/>
                        </a:rPr>
                        <a:t>Test set performance</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Generalization</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852464838"/>
                  </a:ext>
                </a:extLst>
              </a:tr>
              <a:tr h="385132">
                <a:tc>
                  <a:txBody>
                    <a:bodyPr/>
                    <a:lstStyle/>
                    <a:p>
                      <a:pPr algn="ctr" fontAlgn="b"/>
                      <a:r>
                        <a:rPr lang="en-US" sz="1600" b="0" u="none" strike="noStrike" dirty="0">
                          <a:solidFill>
                            <a:srgbClr val="000000"/>
                          </a:solidFill>
                          <a:effectLst/>
                        </a:rPr>
                        <a:t>Parameters</a:t>
                      </a:r>
                      <a:endParaRPr lang="en-US" sz="1600" b="0" i="0" u="none" strike="noStrike" dirty="0">
                        <a:solidFill>
                          <a:srgbClr val="000000"/>
                        </a:solidFill>
                        <a:effectLst/>
                        <a:latin typeface="+mn-lt"/>
                      </a:endParaRPr>
                    </a:p>
                  </a:txBody>
                  <a:tcPr marL="6350" marR="6350" marT="6350" marB="0" anchor="ctr"/>
                </a:tc>
                <a:tc>
                  <a:txBody>
                    <a:bodyPr/>
                    <a:lstStyle/>
                    <a:p>
                      <a:pPr algn="ctr" fontAlgn="b"/>
                      <a:r>
                        <a:rPr lang="en-US" sz="1600" b="0" u="none" strike="noStrike" dirty="0">
                          <a:solidFill>
                            <a:srgbClr val="000000"/>
                          </a:solidFill>
                          <a:effectLst/>
                        </a:rPr>
                        <a:t>Weights</a:t>
                      </a:r>
                      <a:endParaRPr lang="en-US" sz="16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1924182615"/>
                  </a:ext>
                </a:extLst>
              </a:tr>
            </a:tbl>
          </a:graphicData>
        </a:graphic>
      </p:graphicFrame>
      <p:sp>
        <p:nvSpPr>
          <p:cNvPr id="9" name="Rectangle: Rounded Corners 8">
            <a:extLst>
              <a:ext uri="{FF2B5EF4-FFF2-40B4-BE49-F238E27FC236}">
                <a16:creationId xmlns:a16="http://schemas.microsoft.com/office/drawing/2014/main" id="{3E93C5FD-867D-42BA-A255-837E6B77428B}"/>
              </a:ext>
            </a:extLst>
          </p:cNvPr>
          <p:cNvSpPr/>
          <p:nvPr/>
        </p:nvSpPr>
        <p:spPr>
          <a:xfrm>
            <a:off x="215867" y="208074"/>
            <a:ext cx="11753636" cy="58064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solidFill>
                  <a:schemeClr val="tx1"/>
                </a:solidFill>
                <a:latin typeface="Calibri" panose="020F0502020204030204" pitchFamily="34" charset="0"/>
              </a:rPr>
              <a:t>Robert </a:t>
            </a:r>
            <a:r>
              <a:rPr lang="en-US" i="1" dirty="0" err="1">
                <a:solidFill>
                  <a:schemeClr val="tx1"/>
                </a:solidFill>
                <a:latin typeface="Calibri" panose="020F0502020204030204" pitchFamily="34" charset="0"/>
              </a:rPr>
              <a:t>Tibshirani</a:t>
            </a:r>
            <a:r>
              <a:rPr lang="en-US" i="1" dirty="0">
                <a:solidFill>
                  <a:schemeClr val="tx1"/>
                </a:solidFill>
                <a:latin typeface="Calibri" panose="020F0502020204030204" pitchFamily="34" charset="0"/>
              </a:rPr>
              <a:t>, a statistician and machine learning expert at Stanford, calls machine learning “</a:t>
            </a:r>
            <a:r>
              <a:rPr lang="en-US" i="1" dirty="0">
                <a:solidFill>
                  <a:schemeClr val="tx1"/>
                </a:solidFill>
                <a:latin typeface="Calibri" panose="020F0502020204030204" pitchFamily="34" charset="0"/>
                <a:hlinkClick r:id="rId7">
                  <a:extLst>
                    <a:ext uri="{A12FA001-AC4F-418D-AE19-62706E023703}">
                      <ahyp:hlinkClr xmlns:ahyp="http://schemas.microsoft.com/office/drawing/2018/hyperlinkcolor" val="tx"/>
                    </a:ext>
                  </a:extLst>
                </a:hlinkClick>
              </a:rPr>
              <a:t>glorified statistics</a:t>
            </a:r>
            <a:r>
              <a:rPr lang="en-US" i="1" dirty="0">
                <a:solidFill>
                  <a:schemeClr val="tx1"/>
                </a:solidFill>
                <a:latin typeface="Calibri" panose="020F0502020204030204" pitchFamily="34" charset="0"/>
              </a:rPr>
              <a:t>."</a:t>
            </a:r>
          </a:p>
        </p:txBody>
      </p:sp>
      <p:sp>
        <p:nvSpPr>
          <p:cNvPr id="10" name="Rectangle: Rounded Corners 9">
            <a:extLst>
              <a:ext uri="{FF2B5EF4-FFF2-40B4-BE49-F238E27FC236}">
                <a16:creationId xmlns:a16="http://schemas.microsoft.com/office/drawing/2014/main" id="{CD575AD7-8913-4D9F-A53B-4748BAD79FB4}"/>
              </a:ext>
            </a:extLst>
          </p:cNvPr>
          <p:cNvSpPr/>
          <p:nvPr/>
        </p:nvSpPr>
        <p:spPr>
          <a:xfrm>
            <a:off x="215867" y="5256960"/>
            <a:ext cx="11753636" cy="1392966"/>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en-US" sz="1600" dirty="0">
                <a:solidFill>
                  <a:srgbClr val="000000"/>
                </a:solidFill>
              </a:rPr>
              <a:t>Cheap computing power and availability of large amounts of data allowed data scientists to train computers to learn by analyzing data. But statistical modeling existed long before computers were invented.</a:t>
            </a:r>
          </a:p>
        </p:txBody>
      </p:sp>
      <p:pic>
        <p:nvPicPr>
          <p:cNvPr id="9230" name="Picture 14" descr="Machine Learning vs. Statistical Modeling">
            <a:extLst>
              <a:ext uri="{FF2B5EF4-FFF2-40B4-BE49-F238E27FC236}">
                <a16:creationId xmlns:a16="http://schemas.microsoft.com/office/drawing/2014/main" id="{F9258C52-D6AD-4CD3-9695-DAC3F5CF18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2447" y="1376679"/>
            <a:ext cx="5631756" cy="346399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9">
            <p14:nvContentPartPr>
              <p14:cNvPr id="2" name="Ink 1">
                <a:extLst>
                  <a:ext uri="{FF2B5EF4-FFF2-40B4-BE49-F238E27FC236}">
                    <a16:creationId xmlns:a16="http://schemas.microsoft.com/office/drawing/2014/main" id="{45E5C3BB-BAC9-49C4-9518-2AFF431F7BAB}"/>
                  </a:ext>
                </a:extLst>
              </p14:cNvPr>
              <p14:cNvContentPartPr/>
              <p14:nvPr/>
            </p14:nvContentPartPr>
            <p14:xfrm>
              <a:off x="7661520" y="2223000"/>
              <a:ext cx="2060280" cy="2115000"/>
            </p14:xfrm>
          </p:contentPart>
        </mc:Choice>
        <mc:Fallback>
          <p:pic>
            <p:nvPicPr>
              <p:cNvPr id="2" name="Ink 1">
                <a:extLst>
                  <a:ext uri="{FF2B5EF4-FFF2-40B4-BE49-F238E27FC236}">
                    <a16:creationId xmlns:a16="http://schemas.microsoft.com/office/drawing/2014/main" id="{45E5C3BB-BAC9-49C4-9518-2AFF431F7BAB}"/>
                  </a:ext>
                </a:extLst>
              </p:cNvPr>
              <p:cNvPicPr/>
              <p:nvPr/>
            </p:nvPicPr>
            <p:blipFill>
              <a:blip r:embed="rId10"/>
              <a:stretch>
                <a:fillRect/>
              </a:stretch>
            </p:blipFill>
            <p:spPr>
              <a:xfrm>
                <a:off x="7652160" y="2213640"/>
                <a:ext cx="2079000" cy="2133720"/>
              </a:xfrm>
              <a:prstGeom prst="rect">
                <a:avLst/>
              </a:prstGeom>
            </p:spPr>
          </p:pic>
        </mc:Fallback>
      </mc:AlternateContent>
    </p:spTree>
    <p:extLst>
      <p:ext uri="{BB962C8B-B14F-4D97-AF65-F5344CB8AC3E}">
        <p14:creationId xmlns:p14="http://schemas.microsoft.com/office/powerpoint/2010/main" val="1167689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79</TotalTime>
  <Words>1351</Words>
  <Application>Microsoft Office PowerPoint</Application>
  <PresentationFormat>Widescreen</PresentationFormat>
  <Paragraphs>167</Paragraphs>
  <Slides>1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proxima-nova</vt:lpstr>
      <vt:lpstr>Tahoma</vt:lpstr>
      <vt:lpstr>Verdana</vt:lpstr>
      <vt:lpstr>Office Theme</vt:lpstr>
      <vt:lpstr>think-cell Slide</vt:lpstr>
      <vt:lpstr>PowerPoint Presentation</vt:lpstr>
      <vt:lpstr>What is Statistics?</vt:lpstr>
      <vt:lpstr>PowerPoint Presentation</vt:lpstr>
      <vt:lpstr>What is Machine Learning?</vt:lpstr>
      <vt:lpstr>PowerPoint Presentation</vt:lpstr>
      <vt:lpstr>How &amp; Why of Machine Learning?</vt:lpstr>
      <vt:lpstr>How does Machine Learning work?</vt:lpstr>
      <vt:lpstr>Overlap between Statistics &amp; ML </vt:lpstr>
      <vt:lpstr>PowerPoint Presentation</vt:lpstr>
      <vt:lpstr>ML vs Statistics</vt:lpstr>
      <vt:lpstr>PowerPoint Presentation</vt:lpstr>
      <vt:lpstr>PowerPoint Presentation</vt:lpstr>
      <vt:lpstr>PowerPoint Presentation</vt:lpstr>
      <vt:lpstr>Where is Deep learning come into picture?</vt:lpstr>
      <vt:lpstr>What skills are required to become a Data Scientist/ML expert</vt:lpstr>
      <vt:lpstr>PowerPoint Presentation</vt:lpstr>
      <vt:lpstr>APPENDIX </vt:lpstr>
      <vt:lpstr>Use ca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ket Chhabra</dc:creator>
  <cp:lastModifiedBy>Aniket Chhabra</cp:lastModifiedBy>
  <cp:revision>16</cp:revision>
  <dcterms:created xsi:type="dcterms:W3CDTF">2021-12-23T18:46:13Z</dcterms:created>
  <dcterms:modified xsi:type="dcterms:W3CDTF">2021-12-26T07:51:53Z</dcterms:modified>
</cp:coreProperties>
</file>